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8.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0.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2.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3.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3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36.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37.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38.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39.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42.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43.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44.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45.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46.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47.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48.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49.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50.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51.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notesSlides/notesSlide52.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53.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54.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55.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notesSlides/notesSlide56.xml" ContentType="application/vnd.openxmlformats-officedocument.presentationml.notesSlide+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notesSlides/notesSlide57.xml" ContentType="application/vnd.openxmlformats-officedocument.presentationml.notesSlide+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notesSlides/notesSlide58.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notesSlides/notesSlide59.xml" ContentType="application/vnd.openxmlformats-officedocument.presentationml.notesSlide+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notesSlides/notesSlide60.xml" ContentType="application/vnd.openxmlformats-officedocument.presentationml.notesSlide+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tags/tag18.xml" ContentType="application/vnd.openxmlformats-officedocument.presentationml.tags+xml"/>
  <Override PartName="/ppt/notesSlides/notesSlide63.xml" ContentType="application/vnd.openxmlformats-officedocument.presentationml.notesSlide+xml"/>
  <Override PartName="/ppt/tags/tag19.xml" ContentType="application/vnd.openxmlformats-officedocument.presentationml.tags+xml"/>
  <Override PartName="/ppt/notesSlides/notesSlide6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6"/>
    <p:sldMasterId id="2147484035" r:id="rId47"/>
    <p:sldMasterId id="2147484088" r:id="rId48"/>
    <p:sldMasterId id="2147484095" r:id="rId49"/>
    <p:sldMasterId id="2147484112" r:id="rId50"/>
  </p:sldMasterIdLst>
  <p:notesMasterIdLst>
    <p:notesMasterId r:id="rId120"/>
  </p:notesMasterIdLst>
  <p:sldIdLst>
    <p:sldId id="260" r:id="rId51"/>
    <p:sldId id="258" r:id="rId52"/>
    <p:sldId id="2076138528" r:id="rId53"/>
    <p:sldId id="534" r:id="rId54"/>
    <p:sldId id="565" r:id="rId55"/>
    <p:sldId id="647" r:id="rId56"/>
    <p:sldId id="649" r:id="rId57"/>
    <p:sldId id="650" r:id="rId58"/>
    <p:sldId id="651" r:id="rId59"/>
    <p:sldId id="567" r:id="rId60"/>
    <p:sldId id="663" r:id="rId61"/>
    <p:sldId id="571" r:id="rId62"/>
    <p:sldId id="572" r:id="rId63"/>
    <p:sldId id="653" r:id="rId64"/>
    <p:sldId id="654" r:id="rId65"/>
    <p:sldId id="655" r:id="rId66"/>
    <p:sldId id="656" r:id="rId67"/>
    <p:sldId id="657" r:id="rId68"/>
    <p:sldId id="576" r:id="rId69"/>
    <p:sldId id="2147470518" r:id="rId70"/>
    <p:sldId id="2103813336" r:id="rId71"/>
    <p:sldId id="2103813337" r:id="rId72"/>
    <p:sldId id="2147470517" r:id="rId73"/>
    <p:sldId id="1672" r:id="rId74"/>
    <p:sldId id="2103813184" r:id="rId75"/>
    <p:sldId id="2147470502" r:id="rId76"/>
    <p:sldId id="2147470503" r:id="rId77"/>
    <p:sldId id="2147470501" r:id="rId78"/>
    <p:sldId id="2147470504" r:id="rId79"/>
    <p:sldId id="1674" r:id="rId80"/>
    <p:sldId id="1688" r:id="rId81"/>
    <p:sldId id="11113" r:id="rId82"/>
    <p:sldId id="1689" r:id="rId83"/>
    <p:sldId id="11115" r:id="rId84"/>
    <p:sldId id="1690" r:id="rId85"/>
    <p:sldId id="11117" r:id="rId86"/>
    <p:sldId id="1675" r:id="rId87"/>
    <p:sldId id="2147470519" r:id="rId88"/>
    <p:sldId id="2103813176" r:id="rId89"/>
    <p:sldId id="2147470495" r:id="rId90"/>
    <p:sldId id="2147470505" r:id="rId91"/>
    <p:sldId id="2147470522" r:id="rId92"/>
    <p:sldId id="2147470493" r:id="rId93"/>
    <p:sldId id="2147470506" r:id="rId94"/>
    <p:sldId id="2147470494" r:id="rId95"/>
    <p:sldId id="2147470510" r:id="rId96"/>
    <p:sldId id="2147470491" r:id="rId97"/>
    <p:sldId id="1676" r:id="rId98"/>
    <p:sldId id="1681" r:id="rId99"/>
    <p:sldId id="1682" r:id="rId100"/>
    <p:sldId id="1683" r:id="rId101"/>
    <p:sldId id="1684" r:id="rId102"/>
    <p:sldId id="1685" r:id="rId103"/>
    <p:sldId id="11128" r:id="rId104"/>
    <p:sldId id="2103813180" r:id="rId105"/>
    <p:sldId id="2103813182" r:id="rId106"/>
    <p:sldId id="2147470511" r:id="rId107"/>
    <p:sldId id="2147470512" r:id="rId108"/>
    <p:sldId id="2103813183" r:id="rId109"/>
    <p:sldId id="2147470514" r:id="rId110"/>
    <p:sldId id="10924" r:id="rId111"/>
    <p:sldId id="10928" r:id="rId112"/>
    <p:sldId id="2147470515" r:id="rId113"/>
    <p:sldId id="2147470516" r:id="rId114"/>
    <p:sldId id="10930" r:id="rId115"/>
    <p:sldId id="2147470492" r:id="rId116"/>
    <p:sldId id="530" r:id="rId117"/>
    <p:sldId id="529" r:id="rId118"/>
    <p:sldId id="269" r:id="rId119"/>
  </p:sldIdLst>
  <p:sldSz cx="12192000" cy="6858000"/>
  <p:notesSz cx="6858000" cy="9144000"/>
  <p:custDataLst>
    <p:tags r:id="rId1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76B937C8-64DC-4B6B-A276-43EB319C9807}">
          <p14:sldIdLst>
            <p14:sldId id="260"/>
            <p14:sldId id="258"/>
          </p14:sldIdLst>
        </p14:section>
        <p14:section name="Lesson 1: Query Performance Insights" id="{3DB2DBE5-47C9-44BF-B5A3-1E96ABA2E88A}">
          <p14:sldIdLst>
            <p14:sldId id="2076138528"/>
            <p14:sldId id="534"/>
            <p14:sldId id="565"/>
            <p14:sldId id="647"/>
            <p14:sldId id="649"/>
            <p14:sldId id="650"/>
            <p14:sldId id="651"/>
            <p14:sldId id="567"/>
            <p14:sldId id="663"/>
          </p14:sldIdLst>
        </p14:section>
        <p14:section name="Lesson 2: Azure SQL Automatic Tuning" id="{CAC03897-5A99-4D0F-B019-51F7F9789E9D}">
          <p14:sldIdLst>
            <p14:sldId id="571"/>
            <p14:sldId id="572"/>
            <p14:sldId id="653"/>
            <p14:sldId id="654"/>
            <p14:sldId id="655"/>
            <p14:sldId id="656"/>
            <p14:sldId id="657"/>
            <p14:sldId id="576"/>
          </p14:sldIdLst>
        </p14:section>
        <p14:section name="Lesson 3: Intelligent Query Processing" id="{1A3EEF68-2F3E-4231-99A4-7476283206D3}">
          <p14:sldIdLst>
            <p14:sldId id="2147470518"/>
            <p14:sldId id="2103813336"/>
          </p14:sldIdLst>
        </p14:section>
        <p14:section name="Intelligent Query Processing" id="{1288A27A-E649-41A1-B18E-66EA8061F488}">
          <p14:sldIdLst>
            <p14:sldId id="2103813337"/>
            <p14:sldId id="2147470517"/>
            <p14:sldId id="1672"/>
            <p14:sldId id="2103813184"/>
            <p14:sldId id="2147470502"/>
            <p14:sldId id="2147470503"/>
            <p14:sldId id="2147470501"/>
            <p14:sldId id="2147470504"/>
            <p14:sldId id="1674"/>
            <p14:sldId id="1688"/>
            <p14:sldId id="11113"/>
            <p14:sldId id="1689"/>
            <p14:sldId id="11115"/>
            <p14:sldId id="1690"/>
            <p14:sldId id="11117"/>
            <p14:sldId id="1675"/>
            <p14:sldId id="2147470519"/>
            <p14:sldId id="2103813176"/>
            <p14:sldId id="2147470495"/>
            <p14:sldId id="2147470505"/>
            <p14:sldId id="2147470522"/>
            <p14:sldId id="2147470493"/>
            <p14:sldId id="2147470506"/>
            <p14:sldId id="2147470494"/>
            <p14:sldId id="2147470510"/>
            <p14:sldId id="2147470491"/>
            <p14:sldId id="1676"/>
            <p14:sldId id="1681"/>
            <p14:sldId id="1682"/>
            <p14:sldId id="1683"/>
            <p14:sldId id="1684"/>
            <p14:sldId id="1685"/>
            <p14:sldId id="11128"/>
            <p14:sldId id="2103813180"/>
            <p14:sldId id="2103813182"/>
            <p14:sldId id="2147470511"/>
            <p14:sldId id="2147470512"/>
            <p14:sldId id="2103813183"/>
            <p14:sldId id="2147470514"/>
            <p14:sldId id="10924"/>
            <p14:sldId id="10928"/>
            <p14:sldId id="2147470515"/>
            <p14:sldId id="2147470516"/>
            <p14:sldId id="10930"/>
            <p14:sldId id="2147470492"/>
          </p14:sldIdLst>
        </p14:section>
        <p14:section name="Summary" id="{52C421DB-3256-4659-B3CF-5363399828F3}">
          <p14:sldIdLst>
            <p14:sldId id="530"/>
          </p14:sldIdLst>
        </p14:section>
        <p14:section name="End" id="{39880211-7361-4D5B-B645-D82EB8F72286}">
          <p14:sldIdLst>
            <p14:sldId id="529"/>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980" autoAdjust="0"/>
  </p:normalViewPr>
  <p:slideViewPr>
    <p:cSldViewPr snapToGrid="0">
      <p:cViewPr varScale="1">
        <p:scale>
          <a:sx n="77" d="100"/>
          <a:sy n="77" d="100"/>
        </p:scale>
        <p:origin x="22" y="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67.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Master" Target="slideMasters/slideMaster2.xml"/><Relationship Id="rId63" Type="http://schemas.openxmlformats.org/officeDocument/2006/relationships/slide" Target="slides/slide13.xml"/><Relationship Id="rId68" Type="http://schemas.openxmlformats.org/officeDocument/2006/relationships/slide" Target="slides/slide18.xml"/><Relationship Id="rId84" Type="http://schemas.openxmlformats.org/officeDocument/2006/relationships/slide" Target="slides/slide34.xml"/><Relationship Id="rId89" Type="http://schemas.openxmlformats.org/officeDocument/2006/relationships/slide" Target="slides/slide39.xml"/><Relationship Id="rId112" Type="http://schemas.openxmlformats.org/officeDocument/2006/relationships/slide" Target="slides/slide62.xml"/><Relationship Id="rId16" Type="http://schemas.openxmlformats.org/officeDocument/2006/relationships/customXml" Target="../customXml/item16.xml"/><Relationship Id="rId107" Type="http://schemas.openxmlformats.org/officeDocument/2006/relationships/slide" Target="slides/slide57.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3.xml"/><Relationship Id="rId58" Type="http://schemas.openxmlformats.org/officeDocument/2006/relationships/slide" Target="slides/slide8.xml"/><Relationship Id="rId74" Type="http://schemas.openxmlformats.org/officeDocument/2006/relationships/slide" Target="slides/slide24.xml"/><Relationship Id="rId79" Type="http://schemas.openxmlformats.org/officeDocument/2006/relationships/slide" Target="slides/slide29.xml"/><Relationship Id="rId102" Type="http://schemas.openxmlformats.org/officeDocument/2006/relationships/slide" Target="slides/slide52.xml"/><Relationship Id="rId123" Type="http://schemas.openxmlformats.org/officeDocument/2006/relationships/viewProps" Target="viewProps.xml"/><Relationship Id="rId5" Type="http://schemas.openxmlformats.org/officeDocument/2006/relationships/customXml" Target="../customXml/item5.xml"/><Relationship Id="rId90" Type="http://schemas.openxmlformats.org/officeDocument/2006/relationships/slide" Target="slides/slide40.xml"/><Relationship Id="rId95" Type="http://schemas.openxmlformats.org/officeDocument/2006/relationships/slide" Target="slides/slide45.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slideMaster" Target="slideMasters/slideMaster3.xml"/><Relationship Id="rId64" Type="http://schemas.openxmlformats.org/officeDocument/2006/relationships/slide" Target="slides/slide14.xml"/><Relationship Id="rId69" Type="http://schemas.openxmlformats.org/officeDocument/2006/relationships/slide" Target="slides/slide19.xml"/><Relationship Id="rId113" Type="http://schemas.openxmlformats.org/officeDocument/2006/relationships/slide" Target="slides/slide63.xml"/><Relationship Id="rId118" Type="http://schemas.openxmlformats.org/officeDocument/2006/relationships/slide" Target="slides/slide68.xml"/><Relationship Id="rId80" Type="http://schemas.openxmlformats.org/officeDocument/2006/relationships/slide" Target="slides/slide30.xml"/><Relationship Id="rId85" Type="http://schemas.openxmlformats.org/officeDocument/2006/relationships/slide" Target="slides/slide35.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 Target="slides/slide9.xml"/><Relationship Id="rId103" Type="http://schemas.openxmlformats.org/officeDocument/2006/relationships/slide" Target="slides/slide53.xml"/><Relationship Id="rId108" Type="http://schemas.openxmlformats.org/officeDocument/2006/relationships/slide" Target="slides/slide58.xml"/><Relationship Id="rId124" Type="http://schemas.openxmlformats.org/officeDocument/2006/relationships/theme" Target="theme/theme1.xml"/><Relationship Id="rId54" Type="http://schemas.openxmlformats.org/officeDocument/2006/relationships/slide" Target="slides/slide4.xml"/><Relationship Id="rId70" Type="http://schemas.openxmlformats.org/officeDocument/2006/relationships/slide" Target="slides/slide20.xml"/><Relationship Id="rId75" Type="http://schemas.openxmlformats.org/officeDocument/2006/relationships/slide" Target="slides/slide25.xml"/><Relationship Id="rId91" Type="http://schemas.openxmlformats.org/officeDocument/2006/relationships/slide" Target="slides/slide41.xml"/><Relationship Id="rId96" Type="http://schemas.openxmlformats.org/officeDocument/2006/relationships/slide" Target="slides/slide46.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slideMaster" Target="slideMasters/slideMaster4.xml"/><Relationship Id="rId114" Type="http://schemas.openxmlformats.org/officeDocument/2006/relationships/slide" Target="slides/slide64.xml"/><Relationship Id="rId119" Type="http://schemas.openxmlformats.org/officeDocument/2006/relationships/slide" Target="slides/slide69.xml"/><Relationship Id="rId44" Type="http://schemas.openxmlformats.org/officeDocument/2006/relationships/customXml" Target="../customXml/item44.xml"/><Relationship Id="rId60" Type="http://schemas.openxmlformats.org/officeDocument/2006/relationships/slide" Target="slides/slide10.xml"/><Relationship Id="rId65" Type="http://schemas.openxmlformats.org/officeDocument/2006/relationships/slide" Target="slides/slide15.xml"/><Relationship Id="rId81" Type="http://schemas.openxmlformats.org/officeDocument/2006/relationships/slide" Target="slides/slide31.xml"/><Relationship Id="rId86" Type="http://schemas.openxmlformats.org/officeDocument/2006/relationships/slide" Target="slides/slide36.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59.xml"/><Relationship Id="rId34" Type="http://schemas.openxmlformats.org/officeDocument/2006/relationships/customXml" Target="../customXml/item34.xml"/><Relationship Id="rId50" Type="http://schemas.openxmlformats.org/officeDocument/2006/relationships/slideMaster" Target="slideMasters/slideMaster5.xml"/><Relationship Id="rId55" Type="http://schemas.openxmlformats.org/officeDocument/2006/relationships/slide" Target="slides/slide5.xml"/><Relationship Id="rId76" Type="http://schemas.openxmlformats.org/officeDocument/2006/relationships/slide" Target="slides/slide26.xml"/><Relationship Id="rId97" Type="http://schemas.openxmlformats.org/officeDocument/2006/relationships/slide" Target="slides/slide47.xml"/><Relationship Id="rId104" Type="http://schemas.openxmlformats.org/officeDocument/2006/relationships/slide" Target="slides/slide54.xml"/><Relationship Id="rId120" Type="http://schemas.openxmlformats.org/officeDocument/2006/relationships/notesMaster" Target="notesMasters/notesMaster1.xml"/><Relationship Id="rId125"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slide" Target="slides/slide21.xml"/><Relationship Id="rId92" Type="http://schemas.openxmlformats.org/officeDocument/2006/relationships/slide" Target="slides/slide42.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16.xml"/><Relationship Id="rId87" Type="http://schemas.openxmlformats.org/officeDocument/2006/relationships/slide" Target="slides/slide37.xml"/><Relationship Id="rId110" Type="http://schemas.openxmlformats.org/officeDocument/2006/relationships/slide" Target="slides/slide60.xml"/><Relationship Id="rId115" Type="http://schemas.openxmlformats.org/officeDocument/2006/relationships/slide" Target="slides/slide65.xml"/><Relationship Id="rId61" Type="http://schemas.openxmlformats.org/officeDocument/2006/relationships/slide" Target="slides/slide11.xml"/><Relationship Id="rId82" Type="http://schemas.openxmlformats.org/officeDocument/2006/relationships/slide" Target="slides/slide32.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6.xml"/><Relationship Id="rId77" Type="http://schemas.openxmlformats.org/officeDocument/2006/relationships/slide" Target="slides/slide27.xml"/><Relationship Id="rId100" Type="http://schemas.openxmlformats.org/officeDocument/2006/relationships/slide" Target="slides/slide50.xml"/><Relationship Id="rId105" Type="http://schemas.openxmlformats.org/officeDocument/2006/relationships/slide" Target="slides/slide55.xml"/><Relationship Id="rId126" Type="http://schemas.microsoft.com/office/2016/11/relationships/changesInfo" Target="changesInfos/changesInfo1.xml"/><Relationship Id="rId8" Type="http://schemas.openxmlformats.org/officeDocument/2006/relationships/customXml" Target="../customXml/item8.xml"/><Relationship Id="rId51" Type="http://schemas.openxmlformats.org/officeDocument/2006/relationships/slide" Target="slides/slide1.xml"/><Relationship Id="rId72" Type="http://schemas.openxmlformats.org/officeDocument/2006/relationships/slide" Target="slides/slide22.xml"/><Relationship Id="rId93" Type="http://schemas.openxmlformats.org/officeDocument/2006/relationships/slide" Target="slides/slide43.xml"/><Relationship Id="rId98" Type="http://schemas.openxmlformats.org/officeDocument/2006/relationships/slide" Target="slides/slide48.xml"/><Relationship Id="rId121"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Master" Target="slideMasters/slideMaster1.xml"/><Relationship Id="rId67" Type="http://schemas.openxmlformats.org/officeDocument/2006/relationships/slide" Target="slides/slide17.xml"/><Relationship Id="rId116" Type="http://schemas.openxmlformats.org/officeDocument/2006/relationships/slide" Target="slides/slide66.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 Target="slides/slide12.xml"/><Relationship Id="rId83" Type="http://schemas.openxmlformats.org/officeDocument/2006/relationships/slide" Target="slides/slide33.xml"/><Relationship Id="rId88" Type="http://schemas.openxmlformats.org/officeDocument/2006/relationships/slide" Target="slides/slide38.xml"/><Relationship Id="rId111" Type="http://schemas.openxmlformats.org/officeDocument/2006/relationships/slide" Target="slides/slide6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 Target="slides/slide7.xml"/><Relationship Id="rId106" Type="http://schemas.openxmlformats.org/officeDocument/2006/relationships/slide" Target="slides/slide56.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 Target="slides/slide2.xml"/><Relationship Id="rId73" Type="http://schemas.openxmlformats.org/officeDocument/2006/relationships/slide" Target="slides/slide23.xml"/><Relationship Id="rId78" Type="http://schemas.openxmlformats.org/officeDocument/2006/relationships/slide" Target="slides/slide28.xml"/><Relationship Id="rId94" Type="http://schemas.openxmlformats.org/officeDocument/2006/relationships/slide" Target="slides/slide44.xml"/><Relationship Id="rId99" Type="http://schemas.openxmlformats.org/officeDocument/2006/relationships/slide" Target="slides/slide49.xml"/><Relationship Id="rId101" Type="http://schemas.openxmlformats.org/officeDocument/2006/relationships/slide" Target="slides/slide51.xml"/><Relationship Id="rId12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at Odabasi" userId="d77b5acb-2443-4df7-b8cb-ac216c1fac5a" providerId="ADAL" clId="{B327EA4A-CBEC-4A46-BA89-2592CC7F0EE9}"/>
    <pc:docChg chg="custSel modMainMaster">
      <pc:chgData name="Murat Odabasi" userId="d77b5acb-2443-4df7-b8cb-ac216c1fac5a" providerId="ADAL" clId="{B327EA4A-CBEC-4A46-BA89-2592CC7F0EE9}" dt="2020-05-20T13:35:17.607" v="5" actId="20577"/>
      <pc:docMkLst>
        <pc:docMk/>
      </pc:docMkLst>
      <pc:sldMasterChg chg="modSldLayout">
        <pc:chgData name="Murat Odabasi" userId="d77b5acb-2443-4df7-b8cb-ac216c1fac5a" providerId="ADAL" clId="{B327EA4A-CBEC-4A46-BA89-2592CC7F0EE9}" dt="2020-05-20T13:35:17.607" v="5" actId="20577"/>
        <pc:sldMasterMkLst>
          <pc:docMk/>
          <pc:sldMasterMk cId="2960217152" sldId="2147483819"/>
        </pc:sldMasterMkLst>
        <pc:sldLayoutChg chg="modSp mod">
          <pc:chgData name="Murat Odabasi" userId="d77b5acb-2443-4df7-b8cb-ac216c1fac5a" providerId="ADAL" clId="{B327EA4A-CBEC-4A46-BA89-2592CC7F0EE9}" dt="2020-05-20T13:35:17.607" v="5" actId="20577"/>
          <pc:sldLayoutMkLst>
            <pc:docMk/>
            <pc:sldMasterMk cId="2960217152" sldId="2147483819"/>
            <pc:sldLayoutMk cId="109560292" sldId="2147483861"/>
          </pc:sldLayoutMkLst>
          <pc:spChg chg="mod">
            <ac:chgData name="Murat Odabasi" userId="d77b5acb-2443-4df7-b8cb-ac216c1fac5a" providerId="ADAL" clId="{B327EA4A-CBEC-4A46-BA89-2592CC7F0EE9}" dt="2020-05-20T13:35:17.607" v="5" actId="20577"/>
            <ac:spMkLst>
              <pc:docMk/>
              <pc:sldMasterMk cId="2960217152" sldId="2147483819"/>
              <pc:sldLayoutMk cId="109560292" sldId="2147483861"/>
              <ac:spMk id="11" creationId="{4F94614A-5991-48D1-BAE0-C77F81393F2D}"/>
            </ac:spMkLst>
          </pc:spChg>
        </pc:sldLayoutChg>
      </pc:sldMasterChg>
    </pc:docChg>
  </pc:docChgLst>
  <pc:docChgLst>
    <pc:chgData name="John Deardurff" userId="1176b27f-6749-4904-a052-7c732238bc52" providerId="ADAL" clId="{BB97F40B-CC9C-4729-9B20-5087ADCA274E}"/>
    <pc:docChg chg="custSel modSld">
      <pc:chgData name="John Deardurff" userId="1176b27f-6749-4904-a052-7c732238bc52" providerId="ADAL" clId="{BB97F40B-CC9C-4729-9B20-5087ADCA274E}" dt="2021-01-08T10:06:11.585" v="39" actId="20577"/>
      <pc:docMkLst>
        <pc:docMk/>
      </pc:docMkLst>
      <pc:sldChg chg="modNotesTx">
        <pc:chgData name="John Deardurff" userId="1176b27f-6749-4904-a052-7c732238bc52" providerId="ADAL" clId="{BB97F40B-CC9C-4729-9B20-5087ADCA274E}" dt="2021-01-08T10:02:50.200" v="0" actId="33524"/>
        <pc:sldMkLst>
          <pc:docMk/>
          <pc:sldMk cId="2822781878" sldId="656"/>
        </pc:sldMkLst>
      </pc:sldChg>
      <pc:sldChg chg="modNotesTx">
        <pc:chgData name="John Deardurff" userId="1176b27f-6749-4904-a052-7c732238bc52" providerId="ADAL" clId="{BB97F40B-CC9C-4729-9B20-5087ADCA274E}" dt="2021-01-08T10:04:38.737" v="3" actId="20577"/>
        <pc:sldMkLst>
          <pc:docMk/>
          <pc:sldMk cId="1967034214" sldId="2076138544"/>
        </pc:sldMkLst>
      </pc:sldChg>
      <pc:sldChg chg="modNotesTx">
        <pc:chgData name="John Deardurff" userId="1176b27f-6749-4904-a052-7c732238bc52" providerId="ADAL" clId="{BB97F40B-CC9C-4729-9B20-5087ADCA274E}" dt="2021-01-08T10:06:11.585" v="39" actId="20577"/>
        <pc:sldMkLst>
          <pc:docMk/>
          <pc:sldMk cId="160705234" sldId="2076138550"/>
        </pc:sldMkLst>
      </pc:sldChg>
    </pc:docChg>
  </pc:docChgLst>
  <pc:docChgLst>
    <pc:chgData name="Batuhan Yildiz" userId="90f344fc-4655-4923-aeaf-697bba59c1a7" providerId="ADAL" clId="{915C4BD7-F26C-4C59-97E5-25158AD68FFD}"/>
    <pc:docChg chg="custSel addSld delSld modSld addSection modSection">
      <pc:chgData name="Batuhan Yildiz" userId="90f344fc-4655-4923-aeaf-697bba59c1a7" providerId="ADAL" clId="{915C4BD7-F26C-4C59-97E5-25158AD68FFD}" dt="2020-12-18T07:43:06.171" v="70"/>
      <pc:docMkLst>
        <pc:docMk/>
      </pc:docMkLst>
      <pc:sldChg chg="modSp mod">
        <pc:chgData name="Batuhan Yildiz" userId="90f344fc-4655-4923-aeaf-697bba59c1a7" providerId="ADAL" clId="{915C4BD7-F26C-4C59-97E5-25158AD68FFD}" dt="2020-12-18T06:47:16.489" v="5" actId="20577"/>
        <pc:sldMkLst>
          <pc:docMk/>
          <pc:sldMk cId="2181956486" sldId="256"/>
        </pc:sldMkLst>
        <pc:spChg chg="mod">
          <ac:chgData name="Batuhan Yildiz" userId="90f344fc-4655-4923-aeaf-697bba59c1a7" providerId="ADAL" clId="{915C4BD7-F26C-4C59-97E5-25158AD68FFD}" dt="2020-12-18T06:47:12.726" v="2" actId="20577"/>
          <ac:spMkLst>
            <pc:docMk/>
            <pc:sldMk cId="2181956486" sldId="256"/>
            <ac:spMk id="4" creationId="{00000000-0000-0000-0000-000000000000}"/>
          </ac:spMkLst>
        </pc:spChg>
        <pc:spChg chg="mod">
          <ac:chgData name="Batuhan Yildiz" userId="90f344fc-4655-4923-aeaf-697bba59c1a7" providerId="ADAL" clId="{915C4BD7-F26C-4C59-97E5-25158AD68FFD}" dt="2020-12-18T06:47:16.489" v="5" actId="20577"/>
          <ac:spMkLst>
            <pc:docMk/>
            <pc:sldMk cId="2181956486" sldId="256"/>
            <ac:spMk id="6" creationId="{12808BD5-6BEE-4164-9264-E55A823F2E3D}"/>
          </ac:spMkLst>
        </pc:spChg>
      </pc:sldChg>
      <pc:sldChg chg="mod modShow">
        <pc:chgData name="Batuhan Yildiz" userId="90f344fc-4655-4923-aeaf-697bba59c1a7" providerId="ADAL" clId="{915C4BD7-F26C-4C59-97E5-25158AD68FFD}" dt="2020-12-18T07:41:54.994" v="65" actId="729"/>
        <pc:sldMkLst>
          <pc:docMk/>
          <pc:sldMk cId="2242852715" sldId="257"/>
        </pc:sldMkLst>
      </pc:sldChg>
      <pc:sldChg chg="modSp mod">
        <pc:chgData name="Batuhan Yildiz" userId="90f344fc-4655-4923-aeaf-697bba59c1a7" providerId="ADAL" clId="{915C4BD7-F26C-4C59-97E5-25158AD68FFD}" dt="2020-12-18T06:48:31.971" v="31" actId="20577"/>
        <pc:sldMkLst>
          <pc:docMk/>
          <pc:sldMk cId="3001679096" sldId="258"/>
        </pc:sldMkLst>
        <pc:spChg chg="mod">
          <ac:chgData name="Batuhan Yildiz" userId="90f344fc-4655-4923-aeaf-697bba59c1a7" providerId="ADAL" clId="{915C4BD7-F26C-4C59-97E5-25158AD68FFD}" dt="2020-12-18T06:48:31.971" v="31" actId="20577"/>
          <ac:spMkLst>
            <pc:docMk/>
            <pc:sldMk cId="3001679096" sldId="258"/>
            <ac:spMk id="3" creationId="{355F4707-2382-4D2B-8385-1E54F39F514C}"/>
          </ac:spMkLst>
        </pc:spChg>
      </pc:sldChg>
      <pc:sldChg chg="del">
        <pc:chgData name="Batuhan Yildiz" userId="90f344fc-4655-4923-aeaf-697bba59c1a7" providerId="ADAL" clId="{915C4BD7-F26C-4C59-97E5-25158AD68FFD}" dt="2020-12-18T06:49:01.912" v="34" actId="47"/>
        <pc:sldMkLst>
          <pc:docMk/>
          <pc:sldMk cId="1635881331" sldId="259"/>
        </pc:sldMkLst>
      </pc:sldChg>
      <pc:sldChg chg="del">
        <pc:chgData name="Batuhan Yildiz" userId="90f344fc-4655-4923-aeaf-697bba59c1a7" providerId="ADAL" clId="{915C4BD7-F26C-4C59-97E5-25158AD68FFD}" dt="2020-12-18T06:49:01.912" v="34" actId="47"/>
        <pc:sldMkLst>
          <pc:docMk/>
          <pc:sldMk cId="1732864890" sldId="260"/>
        </pc:sldMkLst>
      </pc:sldChg>
      <pc:sldChg chg="add">
        <pc:chgData name="Batuhan Yildiz" userId="90f344fc-4655-4923-aeaf-697bba59c1a7" providerId="ADAL" clId="{915C4BD7-F26C-4C59-97E5-25158AD68FFD}" dt="2020-12-18T07:02:14.109" v="59" actId="22"/>
        <pc:sldMkLst>
          <pc:docMk/>
          <pc:sldMk cId="495168924" sldId="261"/>
        </pc:sldMkLst>
      </pc:sldChg>
      <pc:sldChg chg="del">
        <pc:chgData name="Batuhan Yildiz" userId="90f344fc-4655-4923-aeaf-697bba59c1a7" providerId="ADAL" clId="{915C4BD7-F26C-4C59-97E5-25158AD68FFD}" dt="2020-12-18T06:49:01.912" v="34" actId="47"/>
        <pc:sldMkLst>
          <pc:docMk/>
          <pc:sldMk cId="914707366" sldId="261"/>
        </pc:sldMkLst>
      </pc:sldChg>
      <pc:sldChg chg="del">
        <pc:chgData name="Batuhan Yildiz" userId="90f344fc-4655-4923-aeaf-697bba59c1a7" providerId="ADAL" clId="{915C4BD7-F26C-4C59-97E5-25158AD68FFD}" dt="2020-12-18T06:49:01.912" v="34" actId="47"/>
        <pc:sldMkLst>
          <pc:docMk/>
          <pc:sldMk cId="2379444036" sldId="262"/>
        </pc:sldMkLst>
      </pc:sldChg>
      <pc:sldChg chg="add">
        <pc:chgData name="Batuhan Yildiz" userId="90f344fc-4655-4923-aeaf-697bba59c1a7" providerId="ADAL" clId="{915C4BD7-F26C-4C59-97E5-25158AD68FFD}" dt="2020-12-18T07:02:14.109" v="59" actId="22"/>
        <pc:sldMkLst>
          <pc:docMk/>
          <pc:sldMk cId="2688589389" sldId="262"/>
        </pc:sldMkLst>
      </pc:sldChg>
      <pc:sldChg chg="del">
        <pc:chgData name="Batuhan Yildiz" userId="90f344fc-4655-4923-aeaf-697bba59c1a7" providerId="ADAL" clId="{915C4BD7-F26C-4C59-97E5-25158AD68FFD}" dt="2020-12-18T06:49:01.912" v="34" actId="47"/>
        <pc:sldMkLst>
          <pc:docMk/>
          <pc:sldMk cId="1385431110" sldId="263"/>
        </pc:sldMkLst>
      </pc:sldChg>
      <pc:sldChg chg="add">
        <pc:chgData name="Batuhan Yildiz" userId="90f344fc-4655-4923-aeaf-697bba59c1a7" providerId="ADAL" clId="{915C4BD7-F26C-4C59-97E5-25158AD68FFD}" dt="2020-12-18T07:02:14.109" v="59" actId="22"/>
        <pc:sldMkLst>
          <pc:docMk/>
          <pc:sldMk cId="2597203564" sldId="263"/>
        </pc:sldMkLst>
      </pc:sldChg>
      <pc:sldChg chg="add">
        <pc:chgData name="Batuhan Yildiz" userId="90f344fc-4655-4923-aeaf-697bba59c1a7" providerId="ADAL" clId="{915C4BD7-F26C-4C59-97E5-25158AD68FFD}" dt="2020-12-18T07:02:14.109" v="59" actId="22"/>
        <pc:sldMkLst>
          <pc:docMk/>
          <pc:sldMk cId="3603709101" sldId="264"/>
        </pc:sldMkLst>
      </pc:sldChg>
      <pc:sldChg chg="del">
        <pc:chgData name="Batuhan Yildiz" userId="90f344fc-4655-4923-aeaf-697bba59c1a7" providerId="ADAL" clId="{915C4BD7-F26C-4C59-97E5-25158AD68FFD}" dt="2020-12-18T06:49:01.912" v="34" actId="47"/>
        <pc:sldMkLst>
          <pc:docMk/>
          <pc:sldMk cId="3996308554" sldId="264"/>
        </pc:sldMkLst>
      </pc:sldChg>
      <pc:sldChg chg="add">
        <pc:chgData name="Batuhan Yildiz" userId="90f344fc-4655-4923-aeaf-697bba59c1a7" providerId="ADAL" clId="{915C4BD7-F26C-4C59-97E5-25158AD68FFD}" dt="2020-12-18T07:02:14.109" v="59" actId="22"/>
        <pc:sldMkLst>
          <pc:docMk/>
          <pc:sldMk cId="2936714402" sldId="265"/>
        </pc:sldMkLst>
      </pc:sldChg>
      <pc:sldChg chg="del">
        <pc:chgData name="Batuhan Yildiz" userId="90f344fc-4655-4923-aeaf-697bba59c1a7" providerId="ADAL" clId="{915C4BD7-F26C-4C59-97E5-25158AD68FFD}" dt="2020-12-18T06:49:01.912" v="34" actId="47"/>
        <pc:sldMkLst>
          <pc:docMk/>
          <pc:sldMk cId="4145703054" sldId="265"/>
        </pc:sldMkLst>
      </pc:sldChg>
      <pc:sldChg chg="del">
        <pc:chgData name="Batuhan Yildiz" userId="90f344fc-4655-4923-aeaf-697bba59c1a7" providerId="ADAL" clId="{915C4BD7-F26C-4C59-97E5-25158AD68FFD}" dt="2020-12-18T06:49:01.912" v="34" actId="47"/>
        <pc:sldMkLst>
          <pc:docMk/>
          <pc:sldMk cId="3977638465" sldId="266"/>
        </pc:sldMkLst>
      </pc:sldChg>
      <pc:sldChg chg="add">
        <pc:chgData name="Batuhan Yildiz" userId="90f344fc-4655-4923-aeaf-697bba59c1a7" providerId="ADAL" clId="{915C4BD7-F26C-4C59-97E5-25158AD68FFD}" dt="2020-12-18T07:02:14.109" v="59" actId="22"/>
        <pc:sldMkLst>
          <pc:docMk/>
          <pc:sldMk cId="1756145022" sldId="267"/>
        </pc:sldMkLst>
      </pc:sldChg>
      <pc:sldChg chg="del">
        <pc:chgData name="Batuhan Yildiz" userId="90f344fc-4655-4923-aeaf-697bba59c1a7" providerId="ADAL" clId="{915C4BD7-F26C-4C59-97E5-25158AD68FFD}" dt="2020-12-18T06:49:01.912" v="34" actId="47"/>
        <pc:sldMkLst>
          <pc:docMk/>
          <pc:sldMk cId="3596592614" sldId="267"/>
        </pc:sldMkLst>
      </pc:sldChg>
      <pc:sldChg chg="del">
        <pc:chgData name="Batuhan Yildiz" userId="90f344fc-4655-4923-aeaf-697bba59c1a7" providerId="ADAL" clId="{915C4BD7-F26C-4C59-97E5-25158AD68FFD}" dt="2020-12-18T06:49:01.912" v="34" actId="47"/>
        <pc:sldMkLst>
          <pc:docMk/>
          <pc:sldMk cId="2843332786" sldId="268"/>
        </pc:sldMkLst>
      </pc:sldChg>
      <pc:sldChg chg="add">
        <pc:chgData name="Batuhan Yildiz" userId="90f344fc-4655-4923-aeaf-697bba59c1a7" providerId="ADAL" clId="{915C4BD7-F26C-4C59-97E5-25158AD68FFD}" dt="2020-12-18T07:02:14.109" v="59" actId="22"/>
        <pc:sldMkLst>
          <pc:docMk/>
          <pc:sldMk cId="3369671951" sldId="268"/>
        </pc:sldMkLst>
      </pc:sldChg>
      <pc:sldChg chg="add">
        <pc:chgData name="Batuhan Yildiz" userId="90f344fc-4655-4923-aeaf-697bba59c1a7" providerId="ADAL" clId="{915C4BD7-F26C-4C59-97E5-25158AD68FFD}" dt="2020-12-18T07:02:14.109" v="59" actId="22"/>
        <pc:sldMkLst>
          <pc:docMk/>
          <pc:sldMk cId="3750828181" sldId="285"/>
        </pc:sldMkLst>
      </pc:sldChg>
      <pc:sldChg chg="add">
        <pc:chgData name="Batuhan Yildiz" userId="90f344fc-4655-4923-aeaf-697bba59c1a7" providerId="ADAL" clId="{915C4BD7-F26C-4C59-97E5-25158AD68FFD}" dt="2020-12-18T07:02:14.109" v="59" actId="22"/>
        <pc:sldMkLst>
          <pc:docMk/>
          <pc:sldMk cId="246755297" sldId="286"/>
        </pc:sldMkLst>
      </pc:sldChg>
      <pc:sldChg chg="add">
        <pc:chgData name="Batuhan Yildiz" userId="90f344fc-4655-4923-aeaf-697bba59c1a7" providerId="ADAL" clId="{915C4BD7-F26C-4C59-97E5-25158AD68FFD}" dt="2020-12-18T07:02:14.109" v="59" actId="22"/>
        <pc:sldMkLst>
          <pc:docMk/>
          <pc:sldMk cId="4039942817" sldId="287"/>
        </pc:sldMkLst>
      </pc:sldChg>
      <pc:sldChg chg="add">
        <pc:chgData name="Batuhan Yildiz" userId="90f344fc-4655-4923-aeaf-697bba59c1a7" providerId="ADAL" clId="{915C4BD7-F26C-4C59-97E5-25158AD68FFD}" dt="2020-12-18T07:02:14.109" v="59" actId="22"/>
        <pc:sldMkLst>
          <pc:docMk/>
          <pc:sldMk cId="3597699010" sldId="288"/>
        </pc:sldMkLst>
      </pc:sldChg>
      <pc:sldChg chg="add">
        <pc:chgData name="Batuhan Yildiz" userId="90f344fc-4655-4923-aeaf-697bba59c1a7" providerId="ADAL" clId="{915C4BD7-F26C-4C59-97E5-25158AD68FFD}" dt="2020-12-18T07:02:14.109" v="59" actId="22"/>
        <pc:sldMkLst>
          <pc:docMk/>
          <pc:sldMk cId="2570881559" sldId="289"/>
        </pc:sldMkLst>
      </pc:sldChg>
      <pc:sldChg chg="add">
        <pc:chgData name="Batuhan Yildiz" userId="90f344fc-4655-4923-aeaf-697bba59c1a7" providerId="ADAL" clId="{915C4BD7-F26C-4C59-97E5-25158AD68FFD}" dt="2020-12-18T07:02:14.109" v="59" actId="22"/>
        <pc:sldMkLst>
          <pc:docMk/>
          <pc:sldMk cId="2959090245" sldId="292"/>
        </pc:sldMkLst>
      </pc:sldChg>
      <pc:sldChg chg="add">
        <pc:chgData name="Batuhan Yildiz" userId="90f344fc-4655-4923-aeaf-697bba59c1a7" providerId="ADAL" clId="{915C4BD7-F26C-4C59-97E5-25158AD68FFD}" dt="2020-12-18T07:02:14.109" v="59" actId="22"/>
        <pc:sldMkLst>
          <pc:docMk/>
          <pc:sldMk cId="1130313363" sldId="293"/>
        </pc:sldMkLst>
      </pc:sldChg>
      <pc:sldChg chg="add">
        <pc:chgData name="Batuhan Yildiz" userId="90f344fc-4655-4923-aeaf-697bba59c1a7" providerId="ADAL" clId="{915C4BD7-F26C-4C59-97E5-25158AD68FFD}" dt="2020-12-18T07:02:14.109" v="59" actId="22"/>
        <pc:sldMkLst>
          <pc:docMk/>
          <pc:sldMk cId="3848816320" sldId="295"/>
        </pc:sldMkLst>
      </pc:sldChg>
      <pc:sldChg chg="add">
        <pc:chgData name="Batuhan Yildiz" userId="90f344fc-4655-4923-aeaf-697bba59c1a7" providerId="ADAL" clId="{915C4BD7-F26C-4C59-97E5-25158AD68FFD}" dt="2020-12-18T07:02:14.109" v="59" actId="22"/>
        <pc:sldMkLst>
          <pc:docMk/>
          <pc:sldMk cId="24043588" sldId="296"/>
        </pc:sldMkLst>
      </pc:sldChg>
      <pc:sldChg chg="add">
        <pc:chgData name="Batuhan Yildiz" userId="90f344fc-4655-4923-aeaf-697bba59c1a7" providerId="ADAL" clId="{915C4BD7-F26C-4C59-97E5-25158AD68FFD}" dt="2020-12-18T07:07:56.723" v="62" actId="22"/>
        <pc:sldMkLst>
          <pc:docMk/>
          <pc:sldMk cId="4173503791" sldId="345"/>
        </pc:sldMkLst>
      </pc:sldChg>
      <pc:sldChg chg="add">
        <pc:chgData name="Batuhan Yildiz" userId="90f344fc-4655-4923-aeaf-697bba59c1a7" providerId="ADAL" clId="{915C4BD7-F26C-4C59-97E5-25158AD68FFD}" dt="2020-12-18T07:02:14.109" v="59" actId="22"/>
        <pc:sldMkLst>
          <pc:docMk/>
          <pc:sldMk cId="929764412" sldId="346"/>
        </pc:sldMkLst>
      </pc:sldChg>
      <pc:sldChg chg="add">
        <pc:chgData name="Batuhan Yildiz" userId="90f344fc-4655-4923-aeaf-697bba59c1a7" providerId="ADAL" clId="{915C4BD7-F26C-4C59-97E5-25158AD68FFD}" dt="2020-12-18T07:07:56.723" v="62" actId="22"/>
        <pc:sldMkLst>
          <pc:docMk/>
          <pc:sldMk cId="946490036" sldId="363"/>
        </pc:sldMkLst>
      </pc:sldChg>
      <pc:sldChg chg="add">
        <pc:chgData name="Batuhan Yildiz" userId="90f344fc-4655-4923-aeaf-697bba59c1a7" providerId="ADAL" clId="{915C4BD7-F26C-4C59-97E5-25158AD68FFD}" dt="2020-12-18T06:55:44.946" v="50" actId="22"/>
        <pc:sldMkLst>
          <pc:docMk/>
          <pc:sldMk cId="2621600474" sldId="534"/>
        </pc:sldMkLst>
      </pc:sldChg>
      <pc:sldChg chg="add">
        <pc:chgData name="Batuhan Yildiz" userId="90f344fc-4655-4923-aeaf-697bba59c1a7" providerId="ADAL" clId="{915C4BD7-F26C-4C59-97E5-25158AD68FFD}" dt="2020-12-18T07:07:56.723" v="62" actId="22"/>
        <pc:sldMkLst>
          <pc:docMk/>
          <pc:sldMk cId="2980146838" sldId="560"/>
        </pc:sldMkLst>
      </pc:sldChg>
      <pc:sldChg chg="modSp add mod">
        <pc:chgData name="Batuhan Yildiz" userId="90f344fc-4655-4923-aeaf-697bba59c1a7" providerId="ADAL" clId="{915C4BD7-F26C-4C59-97E5-25158AD68FFD}" dt="2020-12-18T06:59:48.526" v="58" actId="20577"/>
        <pc:sldMkLst>
          <pc:docMk/>
          <pc:sldMk cId="4083746080" sldId="561"/>
        </pc:sldMkLst>
        <pc:spChg chg="mod">
          <ac:chgData name="Batuhan Yildiz" userId="90f344fc-4655-4923-aeaf-697bba59c1a7" providerId="ADAL" clId="{915C4BD7-F26C-4C59-97E5-25158AD68FFD}" dt="2020-12-18T06:59:48.526" v="58" actId="20577"/>
          <ac:spMkLst>
            <pc:docMk/>
            <pc:sldMk cId="4083746080" sldId="561"/>
            <ac:spMk id="2" creationId="{74CD77A6-E28D-4D8D-9FE5-64ADAA827AC9}"/>
          </ac:spMkLst>
        </pc:spChg>
      </pc:sldChg>
      <pc:sldChg chg="add">
        <pc:chgData name="Batuhan Yildiz" userId="90f344fc-4655-4923-aeaf-697bba59c1a7" providerId="ADAL" clId="{915C4BD7-F26C-4C59-97E5-25158AD68FFD}" dt="2020-12-18T06:53:00.413" v="49" actId="22"/>
        <pc:sldMkLst>
          <pc:docMk/>
          <pc:sldMk cId="289400407" sldId="564"/>
        </pc:sldMkLst>
      </pc:sldChg>
      <pc:sldChg chg="add">
        <pc:chgData name="Batuhan Yildiz" userId="90f344fc-4655-4923-aeaf-697bba59c1a7" providerId="ADAL" clId="{915C4BD7-F26C-4C59-97E5-25158AD68FFD}" dt="2020-12-18T06:53:00.413" v="49" actId="22"/>
        <pc:sldMkLst>
          <pc:docMk/>
          <pc:sldMk cId="2034824179" sldId="565"/>
        </pc:sldMkLst>
      </pc:sldChg>
      <pc:sldChg chg="add">
        <pc:chgData name="Batuhan Yildiz" userId="90f344fc-4655-4923-aeaf-697bba59c1a7" providerId="ADAL" clId="{915C4BD7-F26C-4C59-97E5-25158AD68FFD}" dt="2020-12-18T06:53:00.413" v="49" actId="22"/>
        <pc:sldMkLst>
          <pc:docMk/>
          <pc:sldMk cId="4221783869" sldId="566"/>
        </pc:sldMkLst>
      </pc:sldChg>
      <pc:sldChg chg="add">
        <pc:chgData name="Batuhan Yildiz" userId="90f344fc-4655-4923-aeaf-697bba59c1a7" providerId="ADAL" clId="{915C4BD7-F26C-4C59-97E5-25158AD68FFD}" dt="2020-12-18T06:53:00.413" v="49" actId="22"/>
        <pc:sldMkLst>
          <pc:docMk/>
          <pc:sldMk cId="670385602" sldId="567"/>
        </pc:sldMkLst>
      </pc:sldChg>
      <pc:sldChg chg="add">
        <pc:chgData name="Batuhan Yildiz" userId="90f344fc-4655-4923-aeaf-697bba59c1a7" providerId="ADAL" clId="{915C4BD7-F26C-4C59-97E5-25158AD68FFD}" dt="2020-12-18T06:53:00.413" v="49" actId="22"/>
        <pc:sldMkLst>
          <pc:docMk/>
          <pc:sldMk cId="1617064737" sldId="569"/>
        </pc:sldMkLst>
      </pc:sldChg>
      <pc:sldChg chg="add">
        <pc:chgData name="Batuhan Yildiz" userId="90f344fc-4655-4923-aeaf-697bba59c1a7" providerId="ADAL" clId="{915C4BD7-F26C-4C59-97E5-25158AD68FFD}" dt="2020-12-18T06:53:00.413" v="49" actId="22"/>
        <pc:sldMkLst>
          <pc:docMk/>
          <pc:sldMk cId="505352680" sldId="587"/>
        </pc:sldMkLst>
      </pc:sldChg>
      <pc:sldChg chg="add">
        <pc:chgData name="Batuhan Yildiz" userId="90f344fc-4655-4923-aeaf-697bba59c1a7" providerId="ADAL" clId="{915C4BD7-F26C-4C59-97E5-25158AD68FFD}" dt="2020-12-18T06:53:00.413" v="49" actId="22"/>
        <pc:sldMkLst>
          <pc:docMk/>
          <pc:sldMk cId="1738984369" sldId="593"/>
        </pc:sldMkLst>
      </pc:sldChg>
      <pc:sldChg chg="add">
        <pc:chgData name="Batuhan Yildiz" userId="90f344fc-4655-4923-aeaf-697bba59c1a7" providerId="ADAL" clId="{915C4BD7-F26C-4C59-97E5-25158AD68FFD}" dt="2020-12-18T06:53:00.413" v="49" actId="22"/>
        <pc:sldMkLst>
          <pc:docMk/>
          <pc:sldMk cId="2159944076" sldId="595"/>
        </pc:sldMkLst>
      </pc:sldChg>
      <pc:sldChg chg="add">
        <pc:chgData name="Batuhan Yildiz" userId="90f344fc-4655-4923-aeaf-697bba59c1a7" providerId="ADAL" clId="{915C4BD7-F26C-4C59-97E5-25158AD68FFD}" dt="2020-12-18T07:02:14.109" v="59" actId="22"/>
        <pc:sldMkLst>
          <pc:docMk/>
          <pc:sldMk cId="2911445774" sldId="597"/>
        </pc:sldMkLst>
      </pc:sldChg>
      <pc:sldChg chg="add">
        <pc:chgData name="Batuhan Yildiz" userId="90f344fc-4655-4923-aeaf-697bba59c1a7" providerId="ADAL" clId="{915C4BD7-F26C-4C59-97E5-25158AD68FFD}" dt="2020-12-18T07:02:14.109" v="59" actId="22"/>
        <pc:sldMkLst>
          <pc:docMk/>
          <pc:sldMk cId="3178764289" sldId="598"/>
        </pc:sldMkLst>
      </pc:sldChg>
      <pc:sldChg chg="add">
        <pc:chgData name="Batuhan Yildiz" userId="90f344fc-4655-4923-aeaf-697bba59c1a7" providerId="ADAL" clId="{915C4BD7-F26C-4C59-97E5-25158AD68FFD}" dt="2020-12-18T06:53:00.413" v="49" actId="22"/>
        <pc:sldMkLst>
          <pc:docMk/>
          <pc:sldMk cId="1218584360" sldId="599"/>
        </pc:sldMkLst>
      </pc:sldChg>
      <pc:sldChg chg="add">
        <pc:chgData name="Batuhan Yildiz" userId="90f344fc-4655-4923-aeaf-697bba59c1a7" providerId="ADAL" clId="{915C4BD7-F26C-4C59-97E5-25158AD68FFD}" dt="2020-12-18T07:02:14.109" v="59" actId="22"/>
        <pc:sldMkLst>
          <pc:docMk/>
          <pc:sldMk cId="382829276" sldId="600"/>
        </pc:sldMkLst>
      </pc:sldChg>
      <pc:sldChg chg="add">
        <pc:chgData name="Batuhan Yildiz" userId="90f344fc-4655-4923-aeaf-697bba59c1a7" providerId="ADAL" clId="{915C4BD7-F26C-4C59-97E5-25158AD68FFD}" dt="2020-12-18T07:02:14.109" v="59" actId="22"/>
        <pc:sldMkLst>
          <pc:docMk/>
          <pc:sldMk cId="26520718" sldId="601"/>
        </pc:sldMkLst>
      </pc:sldChg>
      <pc:sldChg chg="add">
        <pc:chgData name="Batuhan Yildiz" userId="90f344fc-4655-4923-aeaf-697bba59c1a7" providerId="ADAL" clId="{915C4BD7-F26C-4C59-97E5-25158AD68FFD}" dt="2020-12-18T06:53:00.413" v="49" actId="22"/>
        <pc:sldMkLst>
          <pc:docMk/>
          <pc:sldMk cId="2751078201" sldId="603"/>
        </pc:sldMkLst>
      </pc:sldChg>
      <pc:sldChg chg="add">
        <pc:chgData name="Batuhan Yildiz" userId="90f344fc-4655-4923-aeaf-697bba59c1a7" providerId="ADAL" clId="{915C4BD7-F26C-4C59-97E5-25158AD68FFD}" dt="2020-12-18T07:02:14.109" v="59" actId="22"/>
        <pc:sldMkLst>
          <pc:docMk/>
          <pc:sldMk cId="3260712088" sldId="604"/>
        </pc:sldMkLst>
      </pc:sldChg>
      <pc:sldChg chg="add">
        <pc:chgData name="Batuhan Yildiz" userId="90f344fc-4655-4923-aeaf-697bba59c1a7" providerId="ADAL" clId="{915C4BD7-F26C-4C59-97E5-25158AD68FFD}" dt="2020-12-18T06:53:00.413" v="49" actId="22"/>
        <pc:sldMkLst>
          <pc:docMk/>
          <pc:sldMk cId="902234591" sldId="621"/>
        </pc:sldMkLst>
      </pc:sldChg>
      <pc:sldChg chg="add">
        <pc:chgData name="Batuhan Yildiz" userId="90f344fc-4655-4923-aeaf-697bba59c1a7" providerId="ADAL" clId="{915C4BD7-F26C-4C59-97E5-25158AD68FFD}" dt="2020-12-18T06:53:00.413" v="49" actId="22"/>
        <pc:sldMkLst>
          <pc:docMk/>
          <pc:sldMk cId="4058008946" sldId="628"/>
        </pc:sldMkLst>
      </pc:sldChg>
      <pc:sldChg chg="add">
        <pc:chgData name="Batuhan Yildiz" userId="90f344fc-4655-4923-aeaf-697bba59c1a7" providerId="ADAL" clId="{915C4BD7-F26C-4C59-97E5-25158AD68FFD}" dt="2020-12-18T06:53:00.413" v="49" actId="22"/>
        <pc:sldMkLst>
          <pc:docMk/>
          <pc:sldMk cId="3576778871" sldId="639"/>
        </pc:sldMkLst>
      </pc:sldChg>
      <pc:sldChg chg="add">
        <pc:chgData name="Batuhan Yildiz" userId="90f344fc-4655-4923-aeaf-697bba59c1a7" providerId="ADAL" clId="{915C4BD7-F26C-4C59-97E5-25158AD68FFD}" dt="2020-12-18T06:53:00.413" v="49" actId="22"/>
        <pc:sldMkLst>
          <pc:docMk/>
          <pc:sldMk cId="732309689" sldId="640"/>
        </pc:sldMkLst>
      </pc:sldChg>
      <pc:sldChg chg="add">
        <pc:chgData name="Batuhan Yildiz" userId="90f344fc-4655-4923-aeaf-697bba59c1a7" providerId="ADAL" clId="{915C4BD7-F26C-4C59-97E5-25158AD68FFD}" dt="2020-12-18T06:53:00.413" v="49" actId="22"/>
        <pc:sldMkLst>
          <pc:docMk/>
          <pc:sldMk cId="828906727" sldId="641"/>
        </pc:sldMkLst>
      </pc:sldChg>
      <pc:sldChg chg="add">
        <pc:chgData name="Batuhan Yildiz" userId="90f344fc-4655-4923-aeaf-697bba59c1a7" providerId="ADAL" clId="{915C4BD7-F26C-4C59-97E5-25158AD68FFD}" dt="2020-12-18T06:53:00.413" v="49" actId="22"/>
        <pc:sldMkLst>
          <pc:docMk/>
          <pc:sldMk cId="1430172448" sldId="642"/>
        </pc:sldMkLst>
      </pc:sldChg>
      <pc:sldChg chg="add">
        <pc:chgData name="Batuhan Yildiz" userId="90f344fc-4655-4923-aeaf-697bba59c1a7" providerId="ADAL" clId="{915C4BD7-F26C-4C59-97E5-25158AD68FFD}" dt="2020-12-18T06:53:00.413" v="49" actId="22"/>
        <pc:sldMkLst>
          <pc:docMk/>
          <pc:sldMk cId="2059970586" sldId="652"/>
        </pc:sldMkLst>
      </pc:sldChg>
      <pc:sldChg chg="add">
        <pc:chgData name="Batuhan Yildiz" userId="90f344fc-4655-4923-aeaf-697bba59c1a7" providerId="ADAL" clId="{915C4BD7-F26C-4C59-97E5-25158AD68FFD}" dt="2020-12-18T06:53:00.413" v="49" actId="22"/>
        <pc:sldMkLst>
          <pc:docMk/>
          <pc:sldMk cId="2822781878" sldId="656"/>
        </pc:sldMkLst>
      </pc:sldChg>
      <pc:sldChg chg="add">
        <pc:chgData name="Batuhan Yildiz" userId="90f344fc-4655-4923-aeaf-697bba59c1a7" providerId="ADAL" clId="{915C4BD7-F26C-4C59-97E5-25158AD68FFD}" dt="2020-12-18T06:53:00.413" v="49" actId="22"/>
        <pc:sldMkLst>
          <pc:docMk/>
          <pc:sldMk cId="1467082177" sldId="657"/>
        </pc:sldMkLst>
      </pc:sldChg>
      <pc:sldChg chg="add">
        <pc:chgData name="Batuhan Yildiz" userId="90f344fc-4655-4923-aeaf-697bba59c1a7" providerId="ADAL" clId="{915C4BD7-F26C-4C59-97E5-25158AD68FFD}" dt="2020-12-18T06:53:00.413" v="49" actId="22"/>
        <pc:sldMkLst>
          <pc:docMk/>
          <pc:sldMk cId="2523970738" sldId="658"/>
        </pc:sldMkLst>
      </pc:sldChg>
      <pc:sldChg chg="add">
        <pc:chgData name="Batuhan Yildiz" userId="90f344fc-4655-4923-aeaf-697bba59c1a7" providerId="ADAL" clId="{915C4BD7-F26C-4C59-97E5-25158AD68FFD}" dt="2020-12-18T06:53:00.413" v="49" actId="22"/>
        <pc:sldMkLst>
          <pc:docMk/>
          <pc:sldMk cId="3531817511" sldId="660"/>
        </pc:sldMkLst>
      </pc:sldChg>
      <pc:sldChg chg="add">
        <pc:chgData name="Batuhan Yildiz" userId="90f344fc-4655-4923-aeaf-697bba59c1a7" providerId="ADAL" clId="{915C4BD7-F26C-4C59-97E5-25158AD68FFD}" dt="2020-12-18T06:53:00.413" v="49" actId="22"/>
        <pc:sldMkLst>
          <pc:docMk/>
          <pc:sldMk cId="2332722628" sldId="661"/>
        </pc:sldMkLst>
      </pc:sldChg>
      <pc:sldChg chg="add">
        <pc:chgData name="Batuhan Yildiz" userId="90f344fc-4655-4923-aeaf-697bba59c1a7" providerId="ADAL" clId="{915C4BD7-F26C-4C59-97E5-25158AD68FFD}" dt="2020-12-18T06:53:00.413" v="49" actId="22"/>
        <pc:sldMkLst>
          <pc:docMk/>
          <pc:sldMk cId="3723095298" sldId="662"/>
        </pc:sldMkLst>
      </pc:sldChg>
      <pc:sldChg chg="add">
        <pc:chgData name="Batuhan Yildiz" userId="90f344fc-4655-4923-aeaf-697bba59c1a7" providerId="ADAL" clId="{915C4BD7-F26C-4C59-97E5-25158AD68FFD}" dt="2020-12-18T06:55:44.946" v="50" actId="22"/>
        <pc:sldMkLst>
          <pc:docMk/>
          <pc:sldMk cId="1616856428" sldId="663"/>
        </pc:sldMkLst>
      </pc:sldChg>
      <pc:sldChg chg="add">
        <pc:chgData name="Batuhan Yildiz" userId="90f344fc-4655-4923-aeaf-697bba59c1a7" providerId="ADAL" clId="{915C4BD7-F26C-4C59-97E5-25158AD68FFD}" dt="2020-12-18T06:59:44.375" v="56" actId="22"/>
        <pc:sldMkLst>
          <pc:docMk/>
          <pc:sldMk cId="2621600474" sldId="1632"/>
        </pc:sldMkLst>
      </pc:sldChg>
      <pc:sldChg chg="add">
        <pc:chgData name="Batuhan Yildiz" userId="90f344fc-4655-4923-aeaf-697bba59c1a7" providerId="ADAL" clId="{915C4BD7-F26C-4C59-97E5-25158AD68FFD}" dt="2020-12-18T06:59:44.375" v="56" actId="22"/>
        <pc:sldMkLst>
          <pc:docMk/>
          <pc:sldMk cId="4288988881" sldId="1633"/>
        </pc:sldMkLst>
      </pc:sldChg>
      <pc:sldChg chg="add">
        <pc:chgData name="Batuhan Yildiz" userId="90f344fc-4655-4923-aeaf-697bba59c1a7" providerId="ADAL" clId="{915C4BD7-F26C-4C59-97E5-25158AD68FFD}" dt="2020-12-18T06:59:44.375" v="56" actId="22"/>
        <pc:sldMkLst>
          <pc:docMk/>
          <pc:sldMk cId="4267675391" sldId="1635"/>
        </pc:sldMkLst>
      </pc:sldChg>
      <pc:sldChg chg="add">
        <pc:chgData name="Batuhan Yildiz" userId="90f344fc-4655-4923-aeaf-697bba59c1a7" providerId="ADAL" clId="{915C4BD7-F26C-4C59-97E5-25158AD68FFD}" dt="2020-12-18T06:59:44.375" v="56" actId="22"/>
        <pc:sldMkLst>
          <pc:docMk/>
          <pc:sldMk cId="2980146838" sldId="1637"/>
        </pc:sldMkLst>
      </pc:sldChg>
      <pc:sldChg chg="add">
        <pc:chgData name="Batuhan Yildiz" userId="90f344fc-4655-4923-aeaf-697bba59c1a7" providerId="ADAL" clId="{915C4BD7-F26C-4C59-97E5-25158AD68FFD}" dt="2020-12-18T06:59:44.375" v="56" actId="22"/>
        <pc:sldMkLst>
          <pc:docMk/>
          <pc:sldMk cId="2962614659" sldId="1646"/>
        </pc:sldMkLst>
      </pc:sldChg>
      <pc:sldChg chg="add">
        <pc:chgData name="Batuhan Yildiz" userId="90f344fc-4655-4923-aeaf-697bba59c1a7" providerId="ADAL" clId="{915C4BD7-F26C-4C59-97E5-25158AD68FFD}" dt="2020-12-18T07:07:56.723" v="62" actId="22"/>
        <pc:sldMkLst>
          <pc:docMk/>
          <pc:sldMk cId="604010589" sldId="4536"/>
        </pc:sldMkLst>
      </pc:sldChg>
      <pc:sldChg chg="add">
        <pc:chgData name="Batuhan Yildiz" userId="90f344fc-4655-4923-aeaf-697bba59c1a7" providerId="ADAL" clId="{915C4BD7-F26C-4C59-97E5-25158AD68FFD}" dt="2020-12-18T07:07:56.723" v="62" actId="22"/>
        <pc:sldMkLst>
          <pc:docMk/>
          <pc:sldMk cId="1740426556" sldId="9883"/>
        </pc:sldMkLst>
      </pc:sldChg>
      <pc:sldChg chg="add">
        <pc:chgData name="Batuhan Yildiz" userId="90f344fc-4655-4923-aeaf-697bba59c1a7" providerId="ADAL" clId="{915C4BD7-F26C-4C59-97E5-25158AD68FFD}" dt="2020-12-18T07:07:56.723" v="62" actId="22"/>
        <pc:sldMkLst>
          <pc:docMk/>
          <pc:sldMk cId="2123711568" sldId="9914"/>
        </pc:sldMkLst>
      </pc:sldChg>
      <pc:sldChg chg="add">
        <pc:chgData name="Batuhan Yildiz" userId="90f344fc-4655-4923-aeaf-697bba59c1a7" providerId="ADAL" clId="{915C4BD7-F26C-4C59-97E5-25158AD68FFD}" dt="2020-12-18T07:07:56.723" v="62" actId="22"/>
        <pc:sldMkLst>
          <pc:docMk/>
          <pc:sldMk cId="526449380" sldId="9915"/>
        </pc:sldMkLst>
      </pc:sldChg>
      <pc:sldChg chg="add">
        <pc:chgData name="Batuhan Yildiz" userId="90f344fc-4655-4923-aeaf-697bba59c1a7" providerId="ADAL" clId="{915C4BD7-F26C-4C59-97E5-25158AD68FFD}" dt="2020-12-18T07:07:56.723" v="62" actId="22"/>
        <pc:sldMkLst>
          <pc:docMk/>
          <pc:sldMk cId="3150945909" sldId="9916"/>
        </pc:sldMkLst>
      </pc:sldChg>
      <pc:sldChg chg="add">
        <pc:chgData name="Batuhan Yildiz" userId="90f344fc-4655-4923-aeaf-697bba59c1a7" providerId="ADAL" clId="{915C4BD7-F26C-4C59-97E5-25158AD68FFD}" dt="2020-12-18T07:07:56.723" v="62" actId="22"/>
        <pc:sldMkLst>
          <pc:docMk/>
          <pc:sldMk cId="1226465175" sldId="9920"/>
        </pc:sldMkLst>
      </pc:sldChg>
      <pc:sldChg chg="add">
        <pc:chgData name="Batuhan Yildiz" userId="90f344fc-4655-4923-aeaf-697bba59c1a7" providerId="ADAL" clId="{915C4BD7-F26C-4C59-97E5-25158AD68FFD}" dt="2020-12-18T07:07:56.723" v="62" actId="22"/>
        <pc:sldMkLst>
          <pc:docMk/>
          <pc:sldMk cId="2331302953" sldId="9922"/>
        </pc:sldMkLst>
      </pc:sldChg>
      <pc:sldChg chg="add">
        <pc:chgData name="Batuhan Yildiz" userId="90f344fc-4655-4923-aeaf-697bba59c1a7" providerId="ADAL" clId="{915C4BD7-F26C-4C59-97E5-25158AD68FFD}" dt="2020-12-18T07:07:56.723" v="62" actId="22"/>
        <pc:sldMkLst>
          <pc:docMk/>
          <pc:sldMk cId="490813339" sldId="9923"/>
        </pc:sldMkLst>
      </pc:sldChg>
      <pc:sldChg chg="add">
        <pc:chgData name="Batuhan Yildiz" userId="90f344fc-4655-4923-aeaf-697bba59c1a7" providerId="ADAL" clId="{915C4BD7-F26C-4C59-97E5-25158AD68FFD}" dt="2020-12-18T07:07:56.723" v="62" actId="22"/>
        <pc:sldMkLst>
          <pc:docMk/>
          <pc:sldMk cId="3935458454" sldId="9924"/>
        </pc:sldMkLst>
      </pc:sldChg>
      <pc:sldChg chg="add">
        <pc:chgData name="Batuhan Yildiz" userId="90f344fc-4655-4923-aeaf-697bba59c1a7" providerId="ADAL" clId="{915C4BD7-F26C-4C59-97E5-25158AD68FFD}" dt="2020-12-18T07:07:56.723" v="62" actId="22"/>
        <pc:sldMkLst>
          <pc:docMk/>
          <pc:sldMk cId="4009113720" sldId="9926"/>
        </pc:sldMkLst>
      </pc:sldChg>
      <pc:sldChg chg="add">
        <pc:chgData name="Batuhan Yildiz" userId="90f344fc-4655-4923-aeaf-697bba59c1a7" providerId="ADAL" clId="{915C4BD7-F26C-4C59-97E5-25158AD68FFD}" dt="2020-12-18T07:07:56.723" v="62" actId="22"/>
        <pc:sldMkLst>
          <pc:docMk/>
          <pc:sldMk cId="4064244196" sldId="9928"/>
        </pc:sldMkLst>
      </pc:sldChg>
      <pc:sldChg chg="add">
        <pc:chgData name="Batuhan Yildiz" userId="90f344fc-4655-4923-aeaf-697bba59c1a7" providerId="ADAL" clId="{915C4BD7-F26C-4C59-97E5-25158AD68FFD}" dt="2020-12-18T07:07:56.723" v="62" actId="22"/>
        <pc:sldMkLst>
          <pc:docMk/>
          <pc:sldMk cId="396722810" sldId="9929"/>
        </pc:sldMkLst>
      </pc:sldChg>
      <pc:sldChg chg="add">
        <pc:chgData name="Batuhan Yildiz" userId="90f344fc-4655-4923-aeaf-697bba59c1a7" providerId="ADAL" clId="{915C4BD7-F26C-4C59-97E5-25158AD68FFD}" dt="2020-12-18T07:07:56.723" v="62" actId="22"/>
        <pc:sldMkLst>
          <pc:docMk/>
          <pc:sldMk cId="2799858279" sldId="9931"/>
        </pc:sldMkLst>
      </pc:sldChg>
      <pc:sldChg chg="add">
        <pc:chgData name="Batuhan Yildiz" userId="90f344fc-4655-4923-aeaf-697bba59c1a7" providerId="ADAL" clId="{915C4BD7-F26C-4C59-97E5-25158AD68FFD}" dt="2020-12-18T07:07:56.723" v="62" actId="22"/>
        <pc:sldMkLst>
          <pc:docMk/>
          <pc:sldMk cId="885171785" sldId="9932"/>
        </pc:sldMkLst>
      </pc:sldChg>
      <pc:sldChg chg="add">
        <pc:chgData name="Batuhan Yildiz" userId="90f344fc-4655-4923-aeaf-697bba59c1a7" providerId="ADAL" clId="{915C4BD7-F26C-4C59-97E5-25158AD68FFD}" dt="2020-12-18T07:07:56.723" v="62" actId="22"/>
        <pc:sldMkLst>
          <pc:docMk/>
          <pc:sldMk cId="755591881" sldId="9933"/>
        </pc:sldMkLst>
      </pc:sldChg>
      <pc:sldChg chg="add">
        <pc:chgData name="Batuhan Yildiz" userId="90f344fc-4655-4923-aeaf-697bba59c1a7" providerId="ADAL" clId="{915C4BD7-F26C-4C59-97E5-25158AD68FFD}" dt="2020-12-18T07:07:56.723" v="62" actId="22"/>
        <pc:sldMkLst>
          <pc:docMk/>
          <pc:sldMk cId="3068690232" sldId="9934"/>
        </pc:sldMkLst>
      </pc:sldChg>
      <pc:sldChg chg="add">
        <pc:chgData name="Batuhan Yildiz" userId="90f344fc-4655-4923-aeaf-697bba59c1a7" providerId="ADAL" clId="{915C4BD7-F26C-4C59-97E5-25158AD68FFD}" dt="2020-12-18T07:07:56.723" v="62" actId="22"/>
        <pc:sldMkLst>
          <pc:docMk/>
          <pc:sldMk cId="3621657834" sldId="9935"/>
        </pc:sldMkLst>
      </pc:sldChg>
      <pc:sldChg chg="add">
        <pc:chgData name="Batuhan Yildiz" userId="90f344fc-4655-4923-aeaf-697bba59c1a7" providerId="ADAL" clId="{915C4BD7-F26C-4C59-97E5-25158AD68FFD}" dt="2020-12-18T07:07:56.723" v="62" actId="22"/>
        <pc:sldMkLst>
          <pc:docMk/>
          <pc:sldMk cId="2989691662" sldId="9939"/>
        </pc:sldMkLst>
      </pc:sldChg>
      <pc:sldChg chg="add">
        <pc:chgData name="Batuhan Yildiz" userId="90f344fc-4655-4923-aeaf-697bba59c1a7" providerId="ADAL" clId="{915C4BD7-F26C-4C59-97E5-25158AD68FFD}" dt="2020-12-18T07:07:56.723" v="62" actId="22"/>
        <pc:sldMkLst>
          <pc:docMk/>
          <pc:sldMk cId="2877391415" sldId="9940"/>
        </pc:sldMkLst>
      </pc:sldChg>
      <pc:sldChg chg="add">
        <pc:chgData name="Batuhan Yildiz" userId="90f344fc-4655-4923-aeaf-697bba59c1a7" providerId="ADAL" clId="{915C4BD7-F26C-4C59-97E5-25158AD68FFD}" dt="2020-12-18T07:07:56.723" v="62" actId="22"/>
        <pc:sldMkLst>
          <pc:docMk/>
          <pc:sldMk cId="561486594" sldId="9941"/>
        </pc:sldMkLst>
      </pc:sldChg>
      <pc:sldChg chg="add">
        <pc:chgData name="Batuhan Yildiz" userId="90f344fc-4655-4923-aeaf-697bba59c1a7" providerId="ADAL" clId="{915C4BD7-F26C-4C59-97E5-25158AD68FFD}" dt="2020-12-18T07:07:56.723" v="62" actId="22"/>
        <pc:sldMkLst>
          <pc:docMk/>
          <pc:sldMk cId="744192773" sldId="9942"/>
        </pc:sldMkLst>
      </pc:sldChg>
      <pc:sldChg chg="add">
        <pc:chgData name="Batuhan Yildiz" userId="90f344fc-4655-4923-aeaf-697bba59c1a7" providerId="ADAL" clId="{915C4BD7-F26C-4C59-97E5-25158AD68FFD}" dt="2020-12-18T07:07:56.723" v="62" actId="22"/>
        <pc:sldMkLst>
          <pc:docMk/>
          <pc:sldMk cId="1975890113" sldId="9943"/>
        </pc:sldMkLst>
      </pc:sldChg>
      <pc:sldChg chg="add">
        <pc:chgData name="Batuhan Yildiz" userId="90f344fc-4655-4923-aeaf-697bba59c1a7" providerId="ADAL" clId="{915C4BD7-F26C-4C59-97E5-25158AD68FFD}" dt="2020-12-18T07:07:56.723" v="62" actId="22"/>
        <pc:sldMkLst>
          <pc:docMk/>
          <pc:sldMk cId="2867333571" sldId="9944"/>
        </pc:sldMkLst>
      </pc:sldChg>
      <pc:sldChg chg="add">
        <pc:chgData name="Batuhan Yildiz" userId="90f344fc-4655-4923-aeaf-697bba59c1a7" providerId="ADAL" clId="{915C4BD7-F26C-4C59-97E5-25158AD68FFD}" dt="2020-12-18T07:07:56.723" v="62" actId="22"/>
        <pc:sldMkLst>
          <pc:docMk/>
          <pc:sldMk cId="2760308674" sldId="9945"/>
        </pc:sldMkLst>
      </pc:sldChg>
      <pc:sldChg chg="add">
        <pc:chgData name="Batuhan Yildiz" userId="90f344fc-4655-4923-aeaf-697bba59c1a7" providerId="ADAL" clId="{915C4BD7-F26C-4C59-97E5-25158AD68FFD}" dt="2020-12-18T07:07:56.723" v="62" actId="22"/>
        <pc:sldMkLst>
          <pc:docMk/>
          <pc:sldMk cId="1470328208" sldId="9946"/>
        </pc:sldMkLst>
      </pc:sldChg>
      <pc:sldChg chg="add">
        <pc:chgData name="Batuhan Yildiz" userId="90f344fc-4655-4923-aeaf-697bba59c1a7" providerId="ADAL" clId="{915C4BD7-F26C-4C59-97E5-25158AD68FFD}" dt="2020-12-18T07:07:56.723" v="62" actId="22"/>
        <pc:sldMkLst>
          <pc:docMk/>
          <pc:sldMk cId="127990912" sldId="9947"/>
        </pc:sldMkLst>
      </pc:sldChg>
      <pc:sldChg chg="add">
        <pc:chgData name="Batuhan Yildiz" userId="90f344fc-4655-4923-aeaf-697bba59c1a7" providerId="ADAL" clId="{915C4BD7-F26C-4C59-97E5-25158AD68FFD}" dt="2020-12-18T07:07:56.723" v="62" actId="22"/>
        <pc:sldMkLst>
          <pc:docMk/>
          <pc:sldMk cId="586257163" sldId="9948"/>
        </pc:sldMkLst>
      </pc:sldChg>
      <pc:sldChg chg="add">
        <pc:chgData name="Batuhan Yildiz" userId="90f344fc-4655-4923-aeaf-697bba59c1a7" providerId="ADAL" clId="{915C4BD7-F26C-4C59-97E5-25158AD68FFD}" dt="2020-12-18T07:07:56.723" v="62" actId="22"/>
        <pc:sldMkLst>
          <pc:docMk/>
          <pc:sldMk cId="2700337214" sldId="9949"/>
        </pc:sldMkLst>
      </pc:sldChg>
      <pc:sldChg chg="add">
        <pc:chgData name="Batuhan Yildiz" userId="90f344fc-4655-4923-aeaf-697bba59c1a7" providerId="ADAL" clId="{915C4BD7-F26C-4C59-97E5-25158AD68FFD}" dt="2020-12-18T07:07:56.723" v="62" actId="22"/>
        <pc:sldMkLst>
          <pc:docMk/>
          <pc:sldMk cId="3546720631" sldId="9950"/>
        </pc:sldMkLst>
      </pc:sldChg>
      <pc:sldChg chg="add">
        <pc:chgData name="Batuhan Yildiz" userId="90f344fc-4655-4923-aeaf-697bba59c1a7" providerId="ADAL" clId="{915C4BD7-F26C-4C59-97E5-25158AD68FFD}" dt="2020-12-18T07:07:56.723" v="62" actId="22"/>
        <pc:sldMkLst>
          <pc:docMk/>
          <pc:sldMk cId="1098900732" sldId="9951"/>
        </pc:sldMkLst>
      </pc:sldChg>
      <pc:sldChg chg="modSp add mod">
        <pc:chgData name="Batuhan Yildiz" userId="90f344fc-4655-4923-aeaf-697bba59c1a7" providerId="ADAL" clId="{915C4BD7-F26C-4C59-97E5-25158AD68FFD}" dt="2020-12-18T07:08:03.051" v="64" actId="20577"/>
        <pc:sldMkLst>
          <pc:docMk/>
          <pc:sldMk cId="3127887217" sldId="9953"/>
        </pc:sldMkLst>
        <pc:spChg chg="mod">
          <ac:chgData name="Batuhan Yildiz" userId="90f344fc-4655-4923-aeaf-697bba59c1a7" providerId="ADAL" clId="{915C4BD7-F26C-4C59-97E5-25158AD68FFD}" dt="2020-12-18T07:08:03.051" v="64" actId="20577"/>
          <ac:spMkLst>
            <pc:docMk/>
            <pc:sldMk cId="3127887217" sldId="9953"/>
            <ac:spMk id="4" creationId="{2271664E-6742-4A85-BB7D-8969F072A06B}"/>
          </ac:spMkLst>
        </pc:spChg>
      </pc:sldChg>
      <pc:sldChg chg="add">
        <pc:chgData name="Batuhan Yildiz" userId="90f344fc-4655-4923-aeaf-697bba59c1a7" providerId="ADAL" clId="{915C4BD7-F26C-4C59-97E5-25158AD68FFD}" dt="2020-12-18T07:07:56.723" v="62" actId="22"/>
        <pc:sldMkLst>
          <pc:docMk/>
          <pc:sldMk cId="536567754" sldId="9958"/>
        </pc:sldMkLst>
      </pc:sldChg>
      <pc:sldChg chg="add">
        <pc:chgData name="Batuhan Yildiz" userId="90f344fc-4655-4923-aeaf-697bba59c1a7" providerId="ADAL" clId="{915C4BD7-F26C-4C59-97E5-25158AD68FFD}" dt="2020-12-18T07:07:56.723" v="62" actId="22"/>
        <pc:sldMkLst>
          <pc:docMk/>
          <pc:sldMk cId="1382527362" sldId="9963"/>
        </pc:sldMkLst>
      </pc:sldChg>
      <pc:sldChg chg="add">
        <pc:chgData name="Batuhan Yildiz" userId="90f344fc-4655-4923-aeaf-697bba59c1a7" providerId="ADAL" clId="{915C4BD7-F26C-4C59-97E5-25158AD68FFD}" dt="2020-12-18T07:07:56.723" v="62" actId="22"/>
        <pc:sldMkLst>
          <pc:docMk/>
          <pc:sldMk cId="2200998956" sldId="9964"/>
        </pc:sldMkLst>
      </pc:sldChg>
      <pc:sldChg chg="add">
        <pc:chgData name="Batuhan Yildiz" userId="90f344fc-4655-4923-aeaf-697bba59c1a7" providerId="ADAL" clId="{915C4BD7-F26C-4C59-97E5-25158AD68FFD}" dt="2020-12-18T06:55:44.946" v="50" actId="22"/>
        <pc:sldMkLst>
          <pc:docMk/>
          <pc:sldMk cId="446007037" sldId="2076136772"/>
        </pc:sldMkLst>
      </pc:sldChg>
      <pc:sldChg chg="add">
        <pc:chgData name="Batuhan Yildiz" userId="90f344fc-4655-4923-aeaf-697bba59c1a7" providerId="ADAL" clId="{915C4BD7-F26C-4C59-97E5-25158AD68FFD}" dt="2020-12-18T06:55:44.946" v="50" actId="22"/>
        <pc:sldMkLst>
          <pc:docMk/>
          <pc:sldMk cId="670385602" sldId="2076138526"/>
        </pc:sldMkLst>
      </pc:sldChg>
      <pc:sldChg chg="add">
        <pc:chgData name="Batuhan Yildiz" userId="90f344fc-4655-4923-aeaf-697bba59c1a7" providerId="ADAL" clId="{915C4BD7-F26C-4C59-97E5-25158AD68FFD}" dt="2020-12-18T07:07:56.723" v="62" actId="22"/>
        <pc:sldMkLst>
          <pc:docMk/>
          <pc:sldMk cId="1828979330" sldId="2076138527"/>
        </pc:sldMkLst>
      </pc:sldChg>
      <pc:sldChg chg="modSp add mod">
        <pc:chgData name="Batuhan Yildiz" userId="90f344fc-4655-4923-aeaf-697bba59c1a7" providerId="ADAL" clId="{915C4BD7-F26C-4C59-97E5-25158AD68FFD}" dt="2020-12-18T06:55:49.174" v="52" actId="20577"/>
        <pc:sldMkLst>
          <pc:docMk/>
          <pc:sldMk cId="1464352254" sldId="2076138528"/>
        </pc:sldMkLst>
        <pc:spChg chg="mod">
          <ac:chgData name="Batuhan Yildiz" userId="90f344fc-4655-4923-aeaf-697bba59c1a7" providerId="ADAL" clId="{915C4BD7-F26C-4C59-97E5-25158AD68FFD}" dt="2020-12-18T06:55:49.174" v="52" actId="20577"/>
          <ac:spMkLst>
            <pc:docMk/>
            <pc:sldMk cId="1464352254" sldId="2076138528"/>
            <ac:spMk id="2" creationId="{74CD77A6-E28D-4D8D-9FE5-64ADAA827AC9}"/>
          </ac:spMkLst>
        </pc:spChg>
      </pc:sldChg>
      <pc:sldChg chg="add">
        <pc:chgData name="Batuhan Yildiz" userId="90f344fc-4655-4923-aeaf-697bba59c1a7" providerId="ADAL" clId="{915C4BD7-F26C-4C59-97E5-25158AD68FFD}" dt="2020-12-18T06:55:44.946" v="50" actId="22"/>
        <pc:sldMkLst>
          <pc:docMk/>
          <pc:sldMk cId="2761024250" sldId="2076138537"/>
        </pc:sldMkLst>
      </pc:sldChg>
      <pc:sldChg chg="add">
        <pc:chgData name="Batuhan Yildiz" userId="90f344fc-4655-4923-aeaf-697bba59c1a7" providerId="ADAL" clId="{915C4BD7-F26C-4C59-97E5-25158AD68FFD}" dt="2020-12-18T06:55:44.946" v="50" actId="22"/>
        <pc:sldMkLst>
          <pc:docMk/>
          <pc:sldMk cId="4173880614" sldId="2076138538"/>
        </pc:sldMkLst>
      </pc:sldChg>
      <pc:sldChg chg="modSp add mod">
        <pc:chgData name="Batuhan Yildiz" userId="90f344fc-4655-4923-aeaf-697bba59c1a7" providerId="ADAL" clId="{915C4BD7-F26C-4C59-97E5-25158AD68FFD}" dt="2020-12-18T06:57:32.686" v="55" actId="20577"/>
        <pc:sldMkLst>
          <pc:docMk/>
          <pc:sldMk cId="80892310" sldId="2076138539"/>
        </pc:sldMkLst>
        <pc:spChg chg="mod">
          <ac:chgData name="Batuhan Yildiz" userId="90f344fc-4655-4923-aeaf-697bba59c1a7" providerId="ADAL" clId="{915C4BD7-F26C-4C59-97E5-25158AD68FFD}" dt="2020-12-18T06:57:32.686" v="55" actId="20577"/>
          <ac:spMkLst>
            <pc:docMk/>
            <pc:sldMk cId="80892310" sldId="2076138539"/>
            <ac:spMk id="2" creationId="{74CD77A6-E28D-4D8D-9FE5-64ADAA827AC9}"/>
          </ac:spMkLst>
        </pc:spChg>
      </pc:sldChg>
      <pc:sldChg chg="add">
        <pc:chgData name="Batuhan Yildiz" userId="90f344fc-4655-4923-aeaf-697bba59c1a7" providerId="ADAL" clId="{915C4BD7-F26C-4C59-97E5-25158AD68FFD}" dt="2020-12-18T06:57:27.286" v="53" actId="22"/>
        <pc:sldMkLst>
          <pc:docMk/>
          <pc:sldMk cId="584024885" sldId="2076138540"/>
        </pc:sldMkLst>
      </pc:sldChg>
      <pc:sldChg chg="add">
        <pc:chgData name="Batuhan Yildiz" userId="90f344fc-4655-4923-aeaf-697bba59c1a7" providerId="ADAL" clId="{915C4BD7-F26C-4C59-97E5-25158AD68FFD}" dt="2020-12-18T06:57:27.286" v="53" actId="22"/>
        <pc:sldMkLst>
          <pc:docMk/>
          <pc:sldMk cId="2531674042" sldId="2076138541"/>
        </pc:sldMkLst>
      </pc:sldChg>
      <pc:sldChg chg="add">
        <pc:chgData name="Batuhan Yildiz" userId="90f344fc-4655-4923-aeaf-697bba59c1a7" providerId="ADAL" clId="{915C4BD7-F26C-4C59-97E5-25158AD68FFD}" dt="2020-12-18T06:57:27.286" v="53" actId="22"/>
        <pc:sldMkLst>
          <pc:docMk/>
          <pc:sldMk cId="1354475960" sldId="2076138542"/>
        </pc:sldMkLst>
      </pc:sldChg>
      <pc:sldChg chg="add">
        <pc:chgData name="Batuhan Yildiz" userId="90f344fc-4655-4923-aeaf-697bba59c1a7" providerId="ADAL" clId="{915C4BD7-F26C-4C59-97E5-25158AD68FFD}" dt="2020-12-18T06:57:27.286" v="53" actId="22"/>
        <pc:sldMkLst>
          <pc:docMk/>
          <pc:sldMk cId="2597698322" sldId="2076138543"/>
        </pc:sldMkLst>
      </pc:sldChg>
      <pc:sldChg chg="add">
        <pc:chgData name="Batuhan Yildiz" userId="90f344fc-4655-4923-aeaf-697bba59c1a7" providerId="ADAL" clId="{915C4BD7-F26C-4C59-97E5-25158AD68FFD}" dt="2020-12-18T06:57:27.286" v="53" actId="22"/>
        <pc:sldMkLst>
          <pc:docMk/>
          <pc:sldMk cId="1967034214" sldId="2076138544"/>
        </pc:sldMkLst>
      </pc:sldChg>
      <pc:sldChg chg="addSp delSp modSp add mod">
        <pc:chgData name="Batuhan Yildiz" userId="90f344fc-4655-4923-aeaf-697bba59c1a7" providerId="ADAL" clId="{915C4BD7-F26C-4C59-97E5-25158AD68FFD}" dt="2020-12-18T07:43:06.171" v="70"/>
        <pc:sldMkLst>
          <pc:docMk/>
          <pc:sldMk cId="1149721595" sldId="2076138545"/>
        </pc:sldMkLst>
        <pc:spChg chg="del mod">
          <ac:chgData name="Batuhan Yildiz" userId="90f344fc-4655-4923-aeaf-697bba59c1a7" providerId="ADAL" clId="{915C4BD7-F26C-4C59-97E5-25158AD68FFD}" dt="2020-12-18T07:42:41.404" v="67" actId="478"/>
          <ac:spMkLst>
            <pc:docMk/>
            <pc:sldMk cId="1149721595" sldId="2076138545"/>
            <ac:spMk id="3" creationId="{8F64A22E-2B43-4FC6-AF08-0CDB3F9E9269}"/>
          </ac:spMkLst>
        </pc:spChg>
        <pc:spChg chg="add mod">
          <ac:chgData name="Batuhan Yildiz" userId="90f344fc-4655-4923-aeaf-697bba59c1a7" providerId="ADAL" clId="{915C4BD7-F26C-4C59-97E5-25158AD68FFD}" dt="2020-12-18T07:43:06.171" v="70"/>
          <ac:spMkLst>
            <pc:docMk/>
            <pc:sldMk cId="1149721595" sldId="2076138545"/>
            <ac:spMk id="4" creationId="{DC51C12D-C2A2-46E5-A971-81F9F8569FBD}"/>
          </ac:spMkLst>
        </pc:spChg>
        <pc:spChg chg="add del mod">
          <ac:chgData name="Batuhan Yildiz" userId="90f344fc-4655-4923-aeaf-697bba59c1a7" providerId="ADAL" clId="{915C4BD7-F26C-4C59-97E5-25158AD68FFD}" dt="2020-12-18T07:42:53.094" v="69"/>
          <ac:spMkLst>
            <pc:docMk/>
            <pc:sldMk cId="1149721595" sldId="2076138545"/>
            <ac:spMk id="8" creationId="{A0D9A18B-9AD1-41FC-AF4C-2C2D7B8CF97B}"/>
          </ac:spMkLst>
        </pc:spChg>
      </pc:sldChg>
      <pc:sldChg chg="add">
        <pc:chgData name="Batuhan Yildiz" userId="90f344fc-4655-4923-aeaf-697bba59c1a7" providerId="ADAL" clId="{915C4BD7-F26C-4C59-97E5-25158AD68FFD}" dt="2020-12-18T06:57:27.286" v="53" actId="22"/>
        <pc:sldMkLst>
          <pc:docMk/>
          <pc:sldMk cId="2387742665" sldId="2076138546"/>
        </pc:sldMkLst>
      </pc:sldChg>
      <pc:sldChg chg="add">
        <pc:chgData name="Batuhan Yildiz" userId="90f344fc-4655-4923-aeaf-697bba59c1a7" providerId="ADAL" clId="{915C4BD7-F26C-4C59-97E5-25158AD68FFD}" dt="2020-12-18T06:57:27.286" v="53" actId="22"/>
        <pc:sldMkLst>
          <pc:docMk/>
          <pc:sldMk cId="1835260929" sldId="2076138547"/>
        </pc:sldMkLst>
      </pc:sldChg>
      <pc:sldChg chg="add">
        <pc:chgData name="Batuhan Yildiz" userId="90f344fc-4655-4923-aeaf-697bba59c1a7" providerId="ADAL" clId="{915C4BD7-F26C-4C59-97E5-25158AD68FFD}" dt="2020-12-18T06:57:27.286" v="53" actId="22"/>
        <pc:sldMkLst>
          <pc:docMk/>
          <pc:sldMk cId="1629141617" sldId="2076138548"/>
        </pc:sldMkLst>
      </pc:sldChg>
      <pc:sldChg chg="add">
        <pc:chgData name="Batuhan Yildiz" userId="90f344fc-4655-4923-aeaf-697bba59c1a7" providerId="ADAL" clId="{915C4BD7-F26C-4C59-97E5-25158AD68FFD}" dt="2020-12-18T06:57:27.286" v="53" actId="22"/>
        <pc:sldMkLst>
          <pc:docMk/>
          <pc:sldMk cId="160705234" sldId="2076138550"/>
        </pc:sldMkLst>
      </pc:sldChg>
      <pc:sldChg chg="modSp add mod">
        <pc:chgData name="Batuhan Yildiz" userId="90f344fc-4655-4923-aeaf-697bba59c1a7" providerId="ADAL" clId="{915C4BD7-F26C-4C59-97E5-25158AD68FFD}" dt="2020-12-18T07:02:21.347" v="61" actId="20577"/>
        <pc:sldMkLst>
          <pc:docMk/>
          <pc:sldMk cId="1601808279" sldId="2076138551"/>
        </pc:sldMkLst>
        <pc:spChg chg="mod">
          <ac:chgData name="Batuhan Yildiz" userId="90f344fc-4655-4923-aeaf-697bba59c1a7" providerId="ADAL" clId="{915C4BD7-F26C-4C59-97E5-25158AD68FFD}" dt="2020-12-18T07:02:21.347" v="61" actId="20577"/>
          <ac:spMkLst>
            <pc:docMk/>
            <pc:sldMk cId="1601808279" sldId="2076138551"/>
            <ac:spMk id="2" creationId="{74CD77A6-E28D-4D8D-9FE5-64ADAA827AC9}"/>
          </ac:spMkLst>
        </pc:spChg>
      </pc:sldChg>
      <pc:sldChg chg="add">
        <pc:chgData name="Batuhan Yildiz" userId="90f344fc-4655-4923-aeaf-697bba59c1a7" providerId="ADAL" clId="{915C4BD7-F26C-4C59-97E5-25158AD68FFD}" dt="2020-12-18T07:02:14.109" v="59" actId="22"/>
        <pc:sldMkLst>
          <pc:docMk/>
          <pc:sldMk cId="3930546496" sldId="2076138552"/>
        </pc:sldMkLst>
      </pc:sldChg>
      <pc:sldChg chg="add">
        <pc:chgData name="Batuhan Yildiz" userId="90f344fc-4655-4923-aeaf-697bba59c1a7" providerId="ADAL" clId="{915C4BD7-F26C-4C59-97E5-25158AD68FFD}" dt="2020-12-18T07:02:14.109" v="59" actId="22"/>
        <pc:sldMkLst>
          <pc:docMk/>
          <pc:sldMk cId="2510955616" sldId="2076138553"/>
        </pc:sldMkLst>
      </pc:sldChg>
      <pc:sldChg chg="add">
        <pc:chgData name="Batuhan Yildiz" userId="90f344fc-4655-4923-aeaf-697bba59c1a7" providerId="ADAL" clId="{915C4BD7-F26C-4C59-97E5-25158AD68FFD}" dt="2020-12-18T07:02:14.109" v="59" actId="22"/>
        <pc:sldMkLst>
          <pc:docMk/>
          <pc:sldMk cId="3885604011" sldId="2076138554"/>
        </pc:sldMkLst>
      </pc:sldChg>
      <pc:sldChg chg="add">
        <pc:chgData name="Batuhan Yildiz" userId="90f344fc-4655-4923-aeaf-697bba59c1a7" providerId="ADAL" clId="{915C4BD7-F26C-4C59-97E5-25158AD68FFD}" dt="2020-12-18T07:07:56.723" v="62" actId="22"/>
        <pc:sldMkLst>
          <pc:docMk/>
          <pc:sldMk cId="3264689035" sldId="2076138555"/>
        </pc:sldMkLst>
      </pc:sldChg>
      <pc:sldChg chg="add">
        <pc:chgData name="Batuhan Yildiz" userId="90f344fc-4655-4923-aeaf-697bba59c1a7" providerId="ADAL" clId="{915C4BD7-F26C-4C59-97E5-25158AD68FFD}" dt="2020-12-18T07:07:56.723" v="62" actId="22"/>
        <pc:sldMkLst>
          <pc:docMk/>
          <pc:sldMk cId="1818781119" sldId="2076138556"/>
        </pc:sldMkLst>
      </pc:sldChg>
      <pc:sldMasterChg chg="addSldLayout modSldLayout">
        <pc:chgData name="Batuhan Yildiz" userId="90f344fc-4655-4923-aeaf-697bba59c1a7" providerId="ADAL" clId="{915C4BD7-F26C-4C59-97E5-25158AD68FFD}" dt="2020-12-18T07:02:14.109" v="59" actId="22"/>
        <pc:sldMasterMkLst>
          <pc:docMk/>
          <pc:sldMasterMk cId="3138866671" sldId="2147483990"/>
        </pc:sldMasterMkLst>
        <pc:sldLayoutChg chg="add mod">
          <pc:chgData name="Batuhan Yildiz" userId="90f344fc-4655-4923-aeaf-697bba59c1a7" providerId="ADAL" clId="{915C4BD7-F26C-4C59-97E5-25158AD68FFD}" dt="2020-12-18T06:53:00.413" v="49" actId="22"/>
          <pc:sldLayoutMkLst>
            <pc:docMk/>
            <pc:sldMasterMk cId="3138866671" sldId="2147483990"/>
            <pc:sldLayoutMk cId="894946566" sldId="2147484035"/>
          </pc:sldLayoutMkLst>
        </pc:sldLayoutChg>
        <pc:sldLayoutChg chg="add mod">
          <pc:chgData name="Batuhan Yildiz" userId="90f344fc-4655-4923-aeaf-697bba59c1a7" providerId="ADAL" clId="{915C4BD7-F26C-4C59-97E5-25158AD68FFD}" dt="2020-12-18T07:02:14.109" v="59" actId="22"/>
          <pc:sldLayoutMkLst>
            <pc:docMk/>
            <pc:sldMasterMk cId="3138866671" sldId="2147483990"/>
            <pc:sldLayoutMk cId="1065791093" sldId="2147484036"/>
          </pc:sldLayoutMkLst>
        </pc:sldLayoutChg>
      </pc:sldMasterChg>
    </pc:docChg>
  </pc:docChgLst>
  <pc:docChgLst>
    <pc:chgData name="Batuhan Yildiz" userId="90f344fc-4655-4923-aeaf-697bba59c1a7" providerId="ADAL" clId="{9552FCA8-699A-4A9C-814A-E9AE01FABFEF}"/>
    <pc:docChg chg="undo custSel addSld delSld modSld sldOrd modSection">
      <pc:chgData name="Batuhan Yildiz" userId="90f344fc-4655-4923-aeaf-697bba59c1a7" providerId="ADAL" clId="{9552FCA8-699A-4A9C-814A-E9AE01FABFEF}" dt="2020-12-18T22:23:40.473" v="257" actId="6549"/>
      <pc:docMkLst>
        <pc:docMk/>
      </pc:docMkLst>
      <pc:sldChg chg="modNotesTx">
        <pc:chgData name="Batuhan Yildiz" userId="90f344fc-4655-4923-aeaf-697bba59c1a7" providerId="ADAL" clId="{9552FCA8-699A-4A9C-814A-E9AE01FABFEF}" dt="2020-12-18T20:02:06.991" v="186" actId="6549"/>
        <pc:sldMkLst>
          <pc:docMk/>
          <pc:sldMk cId="2936714402" sldId="265"/>
        </pc:sldMkLst>
      </pc:sldChg>
      <pc:sldChg chg="modSp mod modNotesTx">
        <pc:chgData name="Batuhan Yildiz" userId="90f344fc-4655-4923-aeaf-697bba59c1a7" providerId="ADAL" clId="{9552FCA8-699A-4A9C-814A-E9AE01FABFEF}" dt="2020-12-18T20:00:28.459" v="185" actId="20577"/>
        <pc:sldMkLst>
          <pc:docMk/>
          <pc:sldMk cId="3597699010" sldId="288"/>
        </pc:sldMkLst>
        <pc:spChg chg="mod">
          <ac:chgData name="Batuhan Yildiz" userId="90f344fc-4655-4923-aeaf-697bba59c1a7" providerId="ADAL" clId="{9552FCA8-699A-4A9C-814A-E9AE01FABFEF}" dt="2020-12-18T20:00:05.749" v="151" actId="21"/>
          <ac:spMkLst>
            <pc:docMk/>
            <pc:sldMk cId="3597699010" sldId="288"/>
            <ac:spMk id="3" creationId="{5EDFAB00-FEA2-41D4-BB1F-90613C95FF51}"/>
          </ac:spMkLst>
        </pc:spChg>
      </pc:sldChg>
      <pc:sldChg chg="modNotesTx">
        <pc:chgData name="Batuhan Yildiz" userId="90f344fc-4655-4923-aeaf-697bba59c1a7" providerId="ADAL" clId="{9552FCA8-699A-4A9C-814A-E9AE01FABFEF}" dt="2020-12-18T17:21:41.370" v="11" actId="6549"/>
        <pc:sldMkLst>
          <pc:docMk/>
          <pc:sldMk cId="670385602" sldId="567"/>
        </pc:sldMkLst>
      </pc:sldChg>
      <pc:sldChg chg="modNotesTx">
        <pc:chgData name="Batuhan Yildiz" userId="90f344fc-4655-4923-aeaf-697bba59c1a7" providerId="ADAL" clId="{9552FCA8-699A-4A9C-814A-E9AE01FABFEF}" dt="2020-12-18T18:52:36.695" v="147" actId="113"/>
        <pc:sldMkLst>
          <pc:docMk/>
          <pc:sldMk cId="2911445774" sldId="597"/>
        </pc:sldMkLst>
      </pc:sldChg>
      <pc:sldChg chg="modNotesTx">
        <pc:chgData name="Batuhan Yildiz" userId="90f344fc-4655-4923-aeaf-697bba59c1a7" providerId="ADAL" clId="{9552FCA8-699A-4A9C-814A-E9AE01FABFEF}" dt="2020-12-18T17:32:51.121" v="77" actId="6549"/>
        <pc:sldMkLst>
          <pc:docMk/>
          <pc:sldMk cId="3178764289" sldId="598"/>
        </pc:sldMkLst>
      </pc:sldChg>
      <pc:sldChg chg="mod modShow modNotesTx">
        <pc:chgData name="Batuhan Yildiz" userId="90f344fc-4655-4923-aeaf-697bba59c1a7" providerId="ADAL" clId="{9552FCA8-699A-4A9C-814A-E9AE01FABFEF}" dt="2020-12-18T20:42:09.299" v="245" actId="729"/>
        <pc:sldMkLst>
          <pc:docMk/>
          <pc:sldMk cId="26520718" sldId="601"/>
        </pc:sldMkLst>
      </pc:sldChg>
      <pc:sldChg chg="modSp mod">
        <pc:chgData name="Batuhan Yildiz" userId="90f344fc-4655-4923-aeaf-697bba59c1a7" providerId="ADAL" clId="{9552FCA8-699A-4A9C-814A-E9AE01FABFEF}" dt="2020-12-18T19:56:08.971" v="148" actId="1076"/>
        <pc:sldMkLst>
          <pc:docMk/>
          <pc:sldMk cId="828906727" sldId="641"/>
        </pc:sldMkLst>
        <pc:picChg chg="mod">
          <ac:chgData name="Batuhan Yildiz" userId="90f344fc-4655-4923-aeaf-697bba59c1a7" providerId="ADAL" clId="{9552FCA8-699A-4A9C-814A-E9AE01FABFEF}" dt="2020-12-18T19:56:08.971" v="148" actId="1076"/>
          <ac:picMkLst>
            <pc:docMk/>
            <pc:sldMk cId="828906727" sldId="641"/>
            <ac:picMk id="3" creationId="{5E3231B2-91F8-4C69-B10E-A707618487F2}"/>
          </ac:picMkLst>
        </pc:picChg>
      </pc:sldChg>
      <pc:sldChg chg="modNotesTx">
        <pc:chgData name="Batuhan Yildiz" userId="90f344fc-4655-4923-aeaf-697bba59c1a7" providerId="ADAL" clId="{9552FCA8-699A-4A9C-814A-E9AE01FABFEF}" dt="2020-12-18T17:20:03.495" v="4" actId="6549"/>
        <pc:sldMkLst>
          <pc:docMk/>
          <pc:sldMk cId="2059970586" sldId="652"/>
        </pc:sldMkLst>
      </pc:sldChg>
      <pc:sldChg chg="addSp delSp mod modNotesTx">
        <pc:chgData name="Batuhan Yildiz" userId="90f344fc-4655-4923-aeaf-697bba59c1a7" providerId="ADAL" clId="{9552FCA8-699A-4A9C-814A-E9AE01FABFEF}" dt="2020-12-18T20:22:17.148" v="205" actId="22"/>
        <pc:sldMkLst>
          <pc:docMk/>
          <pc:sldMk cId="4267675391" sldId="1635"/>
        </pc:sldMkLst>
        <pc:spChg chg="add del">
          <ac:chgData name="Batuhan Yildiz" userId="90f344fc-4655-4923-aeaf-697bba59c1a7" providerId="ADAL" clId="{9552FCA8-699A-4A9C-814A-E9AE01FABFEF}" dt="2020-12-18T20:22:13.256" v="203" actId="22"/>
          <ac:spMkLst>
            <pc:docMk/>
            <pc:sldMk cId="4267675391" sldId="1635"/>
            <ac:spMk id="8" creationId="{931AB8F9-DD6F-46B6-9586-7CF624B5A14F}"/>
          </ac:spMkLst>
        </pc:spChg>
        <pc:spChg chg="add del">
          <ac:chgData name="Batuhan Yildiz" userId="90f344fc-4655-4923-aeaf-697bba59c1a7" providerId="ADAL" clId="{9552FCA8-699A-4A9C-814A-E9AE01FABFEF}" dt="2020-12-18T20:22:17.148" v="205" actId="22"/>
          <ac:spMkLst>
            <pc:docMk/>
            <pc:sldMk cId="4267675391" sldId="1635"/>
            <ac:spMk id="9" creationId="{D350B160-79B7-461C-88E5-A96022A1C1D6}"/>
          </ac:spMkLst>
        </pc:spChg>
      </pc:sldChg>
      <pc:sldChg chg="modSp">
        <pc:chgData name="Batuhan Yildiz" userId="90f344fc-4655-4923-aeaf-697bba59c1a7" providerId="ADAL" clId="{9552FCA8-699A-4A9C-814A-E9AE01FABFEF}" dt="2020-12-18T20:03:37.997" v="195" actId="20577"/>
        <pc:sldMkLst>
          <pc:docMk/>
          <pc:sldMk cId="604010589" sldId="4536"/>
        </pc:sldMkLst>
        <pc:graphicFrameChg chg="mod">
          <ac:chgData name="Batuhan Yildiz" userId="90f344fc-4655-4923-aeaf-697bba59c1a7" providerId="ADAL" clId="{9552FCA8-699A-4A9C-814A-E9AE01FABFEF}" dt="2020-12-18T20:03:37.997" v="195" actId="20577"/>
          <ac:graphicFrameMkLst>
            <pc:docMk/>
            <pc:sldMk cId="604010589" sldId="4536"/>
            <ac:graphicFrameMk id="8" creationId="{26F72C53-BFB7-4414-8F71-8D79A96BDE59}"/>
          </ac:graphicFrameMkLst>
        </pc:graphicFrameChg>
      </pc:sldChg>
      <pc:sldChg chg="modNotesTx">
        <pc:chgData name="Batuhan Yildiz" userId="90f344fc-4655-4923-aeaf-697bba59c1a7" providerId="ADAL" clId="{9552FCA8-699A-4A9C-814A-E9AE01FABFEF}" dt="2020-12-18T17:25:00.215" v="30" actId="6549"/>
        <pc:sldMkLst>
          <pc:docMk/>
          <pc:sldMk cId="670385602" sldId="2076138526"/>
        </pc:sldMkLst>
      </pc:sldChg>
      <pc:sldChg chg="modSp mod">
        <pc:chgData name="Batuhan Yildiz" userId="90f344fc-4655-4923-aeaf-697bba59c1a7" providerId="ADAL" clId="{9552FCA8-699A-4A9C-814A-E9AE01FABFEF}" dt="2020-12-18T19:57:23.914" v="149" actId="20577"/>
        <pc:sldMkLst>
          <pc:docMk/>
          <pc:sldMk cId="584024885" sldId="2076138540"/>
        </pc:sldMkLst>
        <pc:spChg chg="mod">
          <ac:chgData name="Batuhan Yildiz" userId="90f344fc-4655-4923-aeaf-697bba59c1a7" providerId="ADAL" clId="{9552FCA8-699A-4A9C-814A-E9AE01FABFEF}" dt="2020-12-18T19:57:23.914" v="149" actId="20577"/>
          <ac:spMkLst>
            <pc:docMk/>
            <pc:sldMk cId="584024885" sldId="2076138540"/>
            <ac:spMk id="5" creationId="{55182462-DFDF-4D48-A92C-42FD52821C4E}"/>
          </ac:spMkLst>
        </pc:spChg>
      </pc:sldChg>
      <pc:sldChg chg="del">
        <pc:chgData name="Batuhan Yildiz" userId="90f344fc-4655-4923-aeaf-697bba59c1a7" providerId="ADAL" clId="{9552FCA8-699A-4A9C-814A-E9AE01FABFEF}" dt="2020-12-18T20:24:52.201" v="227" actId="47"/>
        <pc:sldMkLst>
          <pc:docMk/>
          <pc:sldMk cId="2510955616" sldId="2076138553"/>
        </pc:sldMkLst>
      </pc:sldChg>
      <pc:sldChg chg="modNotesTx">
        <pc:chgData name="Batuhan Yildiz" userId="90f344fc-4655-4923-aeaf-697bba59c1a7" providerId="ADAL" clId="{9552FCA8-699A-4A9C-814A-E9AE01FABFEF}" dt="2020-12-18T18:17:35.262" v="125" actId="20577"/>
        <pc:sldMkLst>
          <pc:docMk/>
          <pc:sldMk cId="3264689035" sldId="2076138555"/>
        </pc:sldMkLst>
      </pc:sldChg>
      <pc:sldChg chg="del">
        <pc:chgData name="Batuhan Yildiz" userId="90f344fc-4655-4923-aeaf-697bba59c1a7" providerId="ADAL" clId="{9552FCA8-699A-4A9C-814A-E9AE01FABFEF}" dt="2020-12-18T20:26:19.092" v="234" actId="47"/>
        <pc:sldMkLst>
          <pc:docMk/>
          <pc:sldMk cId="1818781119" sldId="2076138556"/>
        </pc:sldMkLst>
      </pc:sldChg>
      <pc:sldChg chg="modSp add mod">
        <pc:chgData name="Batuhan Yildiz" userId="90f344fc-4655-4923-aeaf-697bba59c1a7" providerId="ADAL" clId="{9552FCA8-699A-4A9C-814A-E9AE01FABFEF}" dt="2020-12-18T20:21:14.285" v="201"/>
        <pc:sldMkLst>
          <pc:docMk/>
          <pc:sldMk cId="3455506928" sldId="2076138594"/>
        </pc:sldMkLst>
        <pc:spChg chg="mod">
          <ac:chgData name="Batuhan Yildiz" userId="90f344fc-4655-4923-aeaf-697bba59c1a7" providerId="ADAL" clId="{9552FCA8-699A-4A9C-814A-E9AE01FABFEF}" dt="2020-12-18T20:21:14.285" v="201"/>
          <ac:spMkLst>
            <pc:docMk/>
            <pc:sldMk cId="3455506928" sldId="2076138594"/>
            <ac:spMk id="9" creationId="{A235F5F6-F0A0-4741-977E-FB4AA62F11D0}"/>
          </ac:spMkLst>
        </pc:spChg>
      </pc:sldChg>
      <pc:sldChg chg="modSp add mod ord">
        <pc:chgData name="Batuhan Yildiz" userId="90f344fc-4655-4923-aeaf-697bba59c1a7" providerId="ADAL" clId="{9552FCA8-699A-4A9C-814A-E9AE01FABFEF}" dt="2020-12-18T22:23:23.554" v="251" actId="6549"/>
        <pc:sldMkLst>
          <pc:docMk/>
          <pc:sldMk cId="1751554594" sldId="2076138595"/>
        </pc:sldMkLst>
        <pc:spChg chg="mod">
          <ac:chgData name="Batuhan Yildiz" userId="90f344fc-4655-4923-aeaf-697bba59c1a7" providerId="ADAL" clId="{9552FCA8-699A-4A9C-814A-E9AE01FABFEF}" dt="2020-12-18T22:23:23.554" v="251" actId="6549"/>
          <ac:spMkLst>
            <pc:docMk/>
            <pc:sldMk cId="1751554594" sldId="2076138595"/>
            <ac:spMk id="9" creationId="{A235F5F6-F0A0-4741-977E-FB4AA62F11D0}"/>
          </ac:spMkLst>
        </pc:spChg>
      </pc:sldChg>
      <pc:sldChg chg="modSp add mod">
        <pc:chgData name="Batuhan Yildiz" userId="90f344fc-4655-4923-aeaf-697bba59c1a7" providerId="ADAL" clId="{9552FCA8-699A-4A9C-814A-E9AE01FABFEF}" dt="2020-12-18T22:23:40.473" v="257" actId="6549"/>
        <pc:sldMkLst>
          <pc:docMk/>
          <pc:sldMk cId="1201270937" sldId="2076138596"/>
        </pc:sldMkLst>
        <pc:spChg chg="mod">
          <ac:chgData name="Batuhan Yildiz" userId="90f344fc-4655-4923-aeaf-697bba59c1a7" providerId="ADAL" clId="{9552FCA8-699A-4A9C-814A-E9AE01FABFEF}" dt="2020-12-18T22:23:40.473" v="257" actId="6549"/>
          <ac:spMkLst>
            <pc:docMk/>
            <pc:sldMk cId="1201270937" sldId="2076138596"/>
            <ac:spMk id="9" creationId="{A235F5F6-F0A0-4741-977E-FB4AA62F11D0}"/>
          </ac:spMkLst>
        </pc:spChg>
      </pc:sldChg>
      <pc:sldChg chg="modSp add mod">
        <pc:chgData name="Batuhan Yildiz" userId="90f344fc-4655-4923-aeaf-697bba59c1a7" providerId="ADAL" clId="{9552FCA8-699A-4A9C-814A-E9AE01FABFEF}" dt="2020-12-18T20:26:10.166" v="233"/>
        <pc:sldMkLst>
          <pc:docMk/>
          <pc:sldMk cId="1548704300" sldId="2076138597"/>
        </pc:sldMkLst>
        <pc:spChg chg="mod">
          <ac:chgData name="Batuhan Yildiz" userId="90f344fc-4655-4923-aeaf-697bba59c1a7" providerId="ADAL" clId="{9552FCA8-699A-4A9C-814A-E9AE01FABFEF}" dt="2020-12-18T20:26:10.166" v="233"/>
          <ac:spMkLst>
            <pc:docMk/>
            <pc:sldMk cId="1548704300" sldId="2076138597"/>
            <ac:spMk id="9" creationId="{A235F5F6-F0A0-4741-977E-FB4AA62F11D0}"/>
          </ac:spMkLst>
        </pc:spChg>
      </pc:sldChg>
    </pc:docChg>
  </pc:docChgLst>
  <pc:docChgLst>
    <pc:chgData name="Murat Odabasi" userId="S::muratod@microsoft.com::d77b5acb-2443-4df7-b8cb-ac216c1fac5a" providerId="AD" clId="Web-{5A276105-813B-E576-863E-CFA5186DB1E5}"/>
    <pc:docChg chg="modSld">
      <pc:chgData name="Murat Odabasi" userId="S::muratod@microsoft.com::d77b5acb-2443-4df7-b8cb-ac216c1fac5a" providerId="AD" clId="Web-{5A276105-813B-E576-863E-CFA5186DB1E5}" dt="2020-04-08T18:17:50.984" v="2" actId="20577"/>
      <pc:docMkLst>
        <pc:docMk/>
      </pc:docMkLst>
      <pc:sldChg chg="modSp">
        <pc:chgData name="Murat Odabasi" userId="S::muratod@microsoft.com::d77b5acb-2443-4df7-b8cb-ac216c1fac5a" providerId="AD" clId="Web-{5A276105-813B-E576-863E-CFA5186DB1E5}" dt="2020-04-08T18:17:49.063" v="0" actId="20577"/>
        <pc:sldMkLst>
          <pc:docMk/>
          <pc:sldMk cId="1732864890" sldId="260"/>
        </pc:sldMkLst>
        <pc:spChg chg="mod">
          <ac:chgData name="Murat Odabasi" userId="S::muratod@microsoft.com::d77b5acb-2443-4df7-b8cb-ac216c1fac5a" providerId="AD" clId="Web-{5A276105-813B-E576-863E-CFA5186DB1E5}" dt="2020-04-08T18:17:49.063" v="0" actId="20577"/>
          <ac:spMkLst>
            <pc:docMk/>
            <pc:sldMk cId="1732864890" sldId="260"/>
            <ac:spMk id="4" creationId="{3BDD850C-29B9-4641-B580-0B91B9EBAE00}"/>
          </ac:spMkLst>
        </pc:spChg>
      </pc:sldChg>
    </pc:docChg>
  </pc:docChgLst>
  <pc:docChgLst>
    <pc:chgData name="Devid Treuling" userId="59319ebe-00e0-4bed-b2ef-326bd7e50483" providerId="ADAL" clId="{BD9B40A7-68D7-46EB-BCC5-757646F2802A}"/>
    <pc:docChg chg="custSel addSld delSld modSld delMainMaster modMainMaster">
      <pc:chgData name="Devid Treuling" userId="59319ebe-00e0-4bed-b2ef-326bd7e50483" providerId="ADAL" clId="{BD9B40A7-68D7-46EB-BCC5-757646F2802A}" dt="2020-03-30T15:46:31.081" v="178" actId="2696"/>
      <pc:docMkLst>
        <pc:docMk/>
      </pc:docMkLst>
      <pc:sldChg chg="modSp modTransition">
        <pc:chgData name="Devid Treuling" userId="59319ebe-00e0-4bed-b2ef-326bd7e50483" providerId="ADAL" clId="{BD9B40A7-68D7-46EB-BCC5-757646F2802A}" dt="2020-03-30T15:46:30.955" v="95"/>
        <pc:sldMkLst>
          <pc:docMk/>
          <pc:sldMk cId="2181956486" sldId="256"/>
        </pc:sldMkLst>
        <pc:spChg chg="mod">
          <ac:chgData name="Devid Treuling" userId="59319ebe-00e0-4bed-b2ef-326bd7e50483" providerId="ADAL" clId="{BD9B40A7-68D7-46EB-BCC5-757646F2802A}" dt="2020-03-30T15:46:30.449" v="2"/>
          <ac:spMkLst>
            <pc:docMk/>
            <pc:sldMk cId="2181956486" sldId="256"/>
            <ac:spMk id="4" creationId="{00000000-0000-0000-0000-000000000000}"/>
          </ac:spMkLst>
        </pc:spChg>
        <pc:spChg chg="mod">
          <ac:chgData name="Devid Treuling" userId="59319ebe-00e0-4bed-b2ef-326bd7e50483" providerId="ADAL" clId="{BD9B40A7-68D7-46EB-BCC5-757646F2802A}" dt="2020-03-30T15:46:30.449" v="2"/>
          <ac:spMkLst>
            <pc:docMk/>
            <pc:sldMk cId="2181956486" sldId="256"/>
            <ac:spMk id="6" creationId="{12808BD5-6BEE-4164-9264-E55A823F2E3D}"/>
          </ac:spMkLst>
        </pc:spChg>
        <pc:picChg chg="mod">
          <ac:chgData name="Devid Treuling" userId="59319ebe-00e0-4bed-b2ef-326bd7e50483" providerId="ADAL" clId="{BD9B40A7-68D7-46EB-BCC5-757646F2802A}" dt="2020-03-30T15:46:30.449" v="2"/>
          <ac:picMkLst>
            <pc:docMk/>
            <pc:sldMk cId="2181956486" sldId="256"/>
            <ac:picMk id="8" creationId="{DEBB7B6C-5800-4217-A7DA-4983C5C30F7A}"/>
          </ac:picMkLst>
        </pc:picChg>
      </pc:sldChg>
      <pc:sldChg chg="modTransition">
        <pc:chgData name="Devid Treuling" userId="59319ebe-00e0-4bed-b2ef-326bd7e50483" providerId="ADAL" clId="{BD9B40A7-68D7-46EB-BCC5-757646F2802A}" dt="2020-03-30T15:46:30.958" v="100"/>
        <pc:sldMkLst>
          <pc:docMk/>
          <pc:sldMk cId="2242852715" sldId="257"/>
        </pc:sldMkLst>
      </pc:sldChg>
      <pc:sldChg chg="modSp modTransition">
        <pc:chgData name="Devid Treuling" userId="59319ebe-00e0-4bed-b2ef-326bd7e50483" providerId="ADAL" clId="{BD9B40A7-68D7-46EB-BCC5-757646F2802A}" dt="2020-03-30T15:46:30.961" v="105"/>
        <pc:sldMkLst>
          <pc:docMk/>
          <pc:sldMk cId="3001679096" sldId="258"/>
        </pc:sldMkLst>
        <pc:spChg chg="mod">
          <ac:chgData name="Devid Treuling" userId="59319ebe-00e0-4bed-b2ef-326bd7e50483" providerId="ADAL" clId="{BD9B40A7-68D7-46EB-BCC5-757646F2802A}" dt="2020-03-30T15:46:30.449" v="2"/>
          <ac:spMkLst>
            <pc:docMk/>
            <pc:sldMk cId="3001679096" sldId="258"/>
            <ac:spMk id="2" creationId="{0D571322-9F37-477D-9B5B-EBF49D8B1DE4}"/>
          </ac:spMkLst>
        </pc:spChg>
        <pc:spChg chg="mod">
          <ac:chgData name="Devid Treuling" userId="59319ebe-00e0-4bed-b2ef-326bd7e50483" providerId="ADAL" clId="{BD9B40A7-68D7-46EB-BCC5-757646F2802A}" dt="2020-03-30T15:46:30.449" v="2"/>
          <ac:spMkLst>
            <pc:docMk/>
            <pc:sldMk cId="3001679096" sldId="258"/>
            <ac:spMk id="3" creationId="{355F4707-2382-4D2B-8385-1E54F39F514C}"/>
          </ac:spMkLst>
        </pc:spChg>
      </pc:sldChg>
      <pc:sldChg chg="modSp modTransition">
        <pc:chgData name="Devid Treuling" userId="59319ebe-00e0-4bed-b2ef-326bd7e50483" providerId="ADAL" clId="{BD9B40A7-68D7-46EB-BCC5-757646F2802A}" dt="2020-03-30T15:46:30.964" v="110"/>
        <pc:sldMkLst>
          <pc:docMk/>
          <pc:sldMk cId="1635881331" sldId="259"/>
        </pc:sldMkLst>
        <pc:spChg chg="mod">
          <ac:chgData name="Devid Treuling" userId="59319ebe-00e0-4bed-b2ef-326bd7e50483" providerId="ADAL" clId="{BD9B40A7-68D7-46EB-BCC5-757646F2802A}" dt="2020-03-30T15:46:30.449" v="2"/>
          <ac:spMkLst>
            <pc:docMk/>
            <pc:sldMk cId="1635881331" sldId="259"/>
            <ac:spMk id="5" creationId="{27132E6D-A6EE-402B-895A-D0B053AB702A}"/>
          </ac:spMkLst>
        </pc:spChg>
      </pc:sldChg>
      <pc:sldChg chg="modSp modTransition">
        <pc:chgData name="Devid Treuling" userId="59319ebe-00e0-4bed-b2ef-326bd7e50483" providerId="ADAL" clId="{BD9B40A7-68D7-46EB-BCC5-757646F2802A}" dt="2020-03-30T15:46:30.967" v="115"/>
        <pc:sldMkLst>
          <pc:docMk/>
          <pc:sldMk cId="1732864890" sldId="260"/>
        </pc:sldMkLst>
        <pc:spChg chg="mod">
          <ac:chgData name="Devid Treuling" userId="59319ebe-00e0-4bed-b2ef-326bd7e50483" providerId="ADAL" clId="{BD9B40A7-68D7-46EB-BCC5-757646F2802A}" dt="2020-03-30T15:46:30.449" v="2"/>
          <ac:spMkLst>
            <pc:docMk/>
            <pc:sldMk cId="1732864890" sldId="260"/>
            <ac:spMk id="4" creationId="{3BDD850C-29B9-4641-B580-0B91B9EBAE00}"/>
          </ac:spMkLst>
        </pc:spChg>
        <pc:spChg chg="mod">
          <ac:chgData name="Devid Treuling" userId="59319ebe-00e0-4bed-b2ef-326bd7e50483" providerId="ADAL" clId="{BD9B40A7-68D7-46EB-BCC5-757646F2802A}" dt="2020-03-30T15:46:30.449" v="2"/>
          <ac:spMkLst>
            <pc:docMk/>
            <pc:sldMk cId="1732864890" sldId="260"/>
            <ac:spMk id="5" creationId="{55182462-DFDF-4D48-A92C-42FD52821C4E}"/>
          </ac:spMkLst>
        </pc:spChg>
        <pc:spChg chg="mod">
          <ac:chgData name="Devid Treuling" userId="59319ebe-00e0-4bed-b2ef-326bd7e50483" providerId="ADAL" clId="{BD9B40A7-68D7-46EB-BCC5-757646F2802A}" dt="2020-03-30T15:46:30.449" v="2"/>
          <ac:spMkLst>
            <pc:docMk/>
            <pc:sldMk cId="1732864890" sldId="260"/>
            <ac:spMk id="7" creationId="{D26C7312-6643-4F44-86B4-FA64F536177B}"/>
          </ac:spMkLst>
        </pc:spChg>
      </pc:sldChg>
      <pc:sldChg chg="modSp modTransition">
        <pc:chgData name="Devid Treuling" userId="59319ebe-00e0-4bed-b2ef-326bd7e50483" providerId="ADAL" clId="{BD9B40A7-68D7-46EB-BCC5-757646F2802A}" dt="2020-03-30T15:46:30.969" v="120"/>
        <pc:sldMkLst>
          <pc:docMk/>
          <pc:sldMk cId="914707366" sldId="261"/>
        </pc:sldMkLst>
        <pc:spChg chg="mod">
          <ac:chgData name="Devid Treuling" userId="59319ebe-00e0-4bed-b2ef-326bd7e50483" providerId="ADAL" clId="{BD9B40A7-68D7-46EB-BCC5-757646F2802A}" dt="2020-03-30T15:46:30.449" v="2"/>
          <ac:spMkLst>
            <pc:docMk/>
            <pc:sldMk cId="914707366" sldId="261"/>
            <ac:spMk id="2" creationId="{00000000-0000-0000-0000-000000000000}"/>
          </ac:spMkLst>
        </pc:spChg>
        <pc:spChg chg="mod">
          <ac:chgData name="Devid Treuling" userId="59319ebe-00e0-4bed-b2ef-326bd7e50483" providerId="ADAL" clId="{BD9B40A7-68D7-46EB-BCC5-757646F2802A}" dt="2020-03-30T15:46:30.449" v="2"/>
          <ac:spMkLst>
            <pc:docMk/>
            <pc:sldMk cId="914707366" sldId="261"/>
            <ac:spMk id="3" creationId="{00000000-0000-0000-0000-000000000000}"/>
          </ac:spMkLst>
        </pc:spChg>
        <pc:spChg chg="mod">
          <ac:chgData name="Devid Treuling" userId="59319ebe-00e0-4bed-b2ef-326bd7e50483" providerId="ADAL" clId="{BD9B40A7-68D7-46EB-BCC5-757646F2802A}" dt="2020-03-30T15:46:30.449" v="2"/>
          <ac:spMkLst>
            <pc:docMk/>
            <pc:sldMk cId="914707366" sldId="261"/>
            <ac:spMk id="12" creationId="{C4226080-F4D3-473F-8324-DFB4ADA600CB}"/>
          </ac:spMkLst>
        </pc:spChg>
      </pc:sldChg>
      <pc:sldChg chg="modSp modTransition">
        <pc:chgData name="Devid Treuling" userId="59319ebe-00e0-4bed-b2ef-326bd7e50483" providerId="ADAL" clId="{BD9B40A7-68D7-46EB-BCC5-757646F2802A}" dt="2020-03-30T15:46:30.972" v="125"/>
        <pc:sldMkLst>
          <pc:docMk/>
          <pc:sldMk cId="2379444036" sldId="262"/>
        </pc:sldMkLst>
        <pc:spChg chg="mod">
          <ac:chgData name="Devid Treuling" userId="59319ebe-00e0-4bed-b2ef-326bd7e50483" providerId="ADAL" clId="{BD9B40A7-68D7-46EB-BCC5-757646F2802A}" dt="2020-03-30T15:46:30.449" v="2"/>
          <ac:spMkLst>
            <pc:docMk/>
            <pc:sldMk cId="2379444036" sldId="262"/>
            <ac:spMk id="4" creationId="{9CBC6F63-616D-478D-A91D-8B071350BF64}"/>
          </ac:spMkLst>
        </pc:spChg>
      </pc:sldChg>
      <pc:sldChg chg="modSp modTransition">
        <pc:chgData name="Devid Treuling" userId="59319ebe-00e0-4bed-b2ef-326bd7e50483" providerId="ADAL" clId="{BD9B40A7-68D7-46EB-BCC5-757646F2802A}" dt="2020-03-30T15:46:30.977" v="130"/>
        <pc:sldMkLst>
          <pc:docMk/>
          <pc:sldMk cId="1385431110" sldId="263"/>
        </pc:sldMkLst>
        <pc:spChg chg="mod">
          <ac:chgData name="Devid Treuling" userId="59319ebe-00e0-4bed-b2ef-326bd7e50483" providerId="ADAL" clId="{BD9B40A7-68D7-46EB-BCC5-757646F2802A}" dt="2020-03-30T15:46:30.449" v="2"/>
          <ac:spMkLst>
            <pc:docMk/>
            <pc:sldMk cId="1385431110" sldId="263"/>
            <ac:spMk id="2" creationId="{E0DCCC6D-05C4-4092-8C9D-AA0D46C1A281}"/>
          </ac:spMkLst>
        </pc:spChg>
        <pc:spChg chg="mod">
          <ac:chgData name="Devid Treuling" userId="59319ebe-00e0-4bed-b2ef-326bd7e50483" providerId="ADAL" clId="{BD9B40A7-68D7-46EB-BCC5-757646F2802A}" dt="2020-03-30T15:46:30.449" v="2"/>
          <ac:spMkLst>
            <pc:docMk/>
            <pc:sldMk cId="1385431110" sldId="263"/>
            <ac:spMk id="3" creationId="{00000000-0000-0000-0000-000000000000}"/>
          </ac:spMkLst>
        </pc:spChg>
      </pc:sldChg>
      <pc:sldChg chg="modSp modTransition">
        <pc:chgData name="Devid Treuling" userId="59319ebe-00e0-4bed-b2ef-326bd7e50483" providerId="ADAL" clId="{BD9B40A7-68D7-46EB-BCC5-757646F2802A}" dt="2020-03-30T15:46:30.981" v="135"/>
        <pc:sldMkLst>
          <pc:docMk/>
          <pc:sldMk cId="3996308554" sldId="264"/>
        </pc:sldMkLst>
        <pc:spChg chg="mod">
          <ac:chgData name="Devid Treuling" userId="59319ebe-00e0-4bed-b2ef-326bd7e50483" providerId="ADAL" clId="{BD9B40A7-68D7-46EB-BCC5-757646F2802A}" dt="2020-03-30T15:46:30.449" v="2"/>
          <ac:spMkLst>
            <pc:docMk/>
            <pc:sldMk cId="3996308554" sldId="264"/>
            <ac:spMk id="3" creationId="{8F64A22E-2B43-4FC6-AF08-0CDB3F9E9269}"/>
          </ac:spMkLst>
        </pc:spChg>
        <pc:spChg chg="mod">
          <ac:chgData name="Devid Treuling" userId="59319ebe-00e0-4bed-b2ef-326bd7e50483" providerId="ADAL" clId="{BD9B40A7-68D7-46EB-BCC5-757646F2802A}" dt="2020-03-30T15:46:30.449" v="2"/>
          <ac:spMkLst>
            <pc:docMk/>
            <pc:sldMk cId="3996308554" sldId="264"/>
            <ac:spMk id="7" creationId="{B0504AD0-36BB-4D91-BEB6-18A5CDC8B4E0}"/>
          </ac:spMkLst>
        </pc:spChg>
        <pc:picChg chg="mod">
          <ac:chgData name="Devid Treuling" userId="59319ebe-00e0-4bed-b2ef-326bd7e50483" providerId="ADAL" clId="{BD9B40A7-68D7-46EB-BCC5-757646F2802A}" dt="2020-03-30T15:46:30.449" v="2"/>
          <ac:picMkLst>
            <pc:docMk/>
            <pc:sldMk cId="3996308554" sldId="264"/>
            <ac:picMk id="16" creationId="{F27CF966-34DA-4658-8DA3-65A171614831}"/>
          </ac:picMkLst>
        </pc:picChg>
      </pc:sldChg>
      <pc:sldChg chg="modSp modTransition">
        <pc:chgData name="Devid Treuling" userId="59319ebe-00e0-4bed-b2ef-326bd7e50483" providerId="ADAL" clId="{BD9B40A7-68D7-46EB-BCC5-757646F2802A}" dt="2020-03-30T15:46:30.984" v="140"/>
        <pc:sldMkLst>
          <pc:docMk/>
          <pc:sldMk cId="4145703054" sldId="265"/>
        </pc:sldMkLst>
        <pc:spChg chg="mod">
          <ac:chgData name="Devid Treuling" userId="59319ebe-00e0-4bed-b2ef-326bd7e50483" providerId="ADAL" clId="{BD9B40A7-68D7-46EB-BCC5-757646F2802A}" dt="2020-03-30T15:46:30.449" v="2"/>
          <ac:spMkLst>
            <pc:docMk/>
            <pc:sldMk cId="4145703054" sldId="265"/>
            <ac:spMk id="2" creationId="{4615BB0C-211A-4A6B-A4FE-D9C725309C49}"/>
          </ac:spMkLst>
        </pc:spChg>
        <pc:spChg chg="mod">
          <ac:chgData name="Devid Treuling" userId="59319ebe-00e0-4bed-b2ef-326bd7e50483" providerId="ADAL" clId="{BD9B40A7-68D7-46EB-BCC5-757646F2802A}" dt="2020-03-30T15:46:30.449" v="2"/>
          <ac:spMkLst>
            <pc:docMk/>
            <pc:sldMk cId="4145703054" sldId="265"/>
            <ac:spMk id="15" creationId="{6DAA8F88-5BE5-4DEB-B8E1-CCA52313CEB8}"/>
          </ac:spMkLst>
        </pc:spChg>
        <pc:picChg chg="mod">
          <ac:chgData name="Devid Treuling" userId="59319ebe-00e0-4bed-b2ef-326bd7e50483" providerId="ADAL" clId="{BD9B40A7-68D7-46EB-BCC5-757646F2802A}" dt="2020-03-30T15:46:30.449" v="2"/>
          <ac:picMkLst>
            <pc:docMk/>
            <pc:sldMk cId="4145703054" sldId="265"/>
            <ac:picMk id="36" creationId="{E609CE4D-9188-4CF4-804D-5F16F38688F4}"/>
          </ac:picMkLst>
        </pc:picChg>
      </pc:sldChg>
      <pc:sldChg chg="modSp modTransition">
        <pc:chgData name="Devid Treuling" userId="59319ebe-00e0-4bed-b2ef-326bd7e50483" providerId="ADAL" clId="{BD9B40A7-68D7-46EB-BCC5-757646F2802A}" dt="2020-03-30T15:46:30.988" v="145"/>
        <pc:sldMkLst>
          <pc:docMk/>
          <pc:sldMk cId="3977638465" sldId="266"/>
        </pc:sldMkLst>
        <pc:spChg chg="mod">
          <ac:chgData name="Devid Treuling" userId="59319ebe-00e0-4bed-b2ef-326bd7e50483" providerId="ADAL" clId="{BD9B40A7-68D7-46EB-BCC5-757646F2802A}" dt="2020-03-30T15:46:30.449" v="2"/>
          <ac:spMkLst>
            <pc:docMk/>
            <pc:sldMk cId="3977638465" sldId="266"/>
            <ac:spMk id="2" creationId="{BC57B38C-8413-4861-A4F5-7DF656AEAD0D}"/>
          </ac:spMkLst>
        </pc:spChg>
        <pc:spChg chg="mod">
          <ac:chgData name="Devid Treuling" userId="59319ebe-00e0-4bed-b2ef-326bd7e50483" providerId="ADAL" clId="{BD9B40A7-68D7-46EB-BCC5-757646F2802A}" dt="2020-03-30T15:46:30.449" v="2"/>
          <ac:spMkLst>
            <pc:docMk/>
            <pc:sldMk cId="3977638465" sldId="266"/>
            <ac:spMk id="10" creationId="{3AEB9F1D-7FAA-4E4F-8117-85F44C19869A}"/>
          </ac:spMkLst>
        </pc:spChg>
        <pc:spChg chg="mod">
          <ac:chgData name="Devid Treuling" userId="59319ebe-00e0-4bed-b2ef-326bd7e50483" providerId="ADAL" clId="{BD9B40A7-68D7-46EB-BCC5-757646F2802A}" dt="2020-03-30T15:46:30.449" v="2"/>
          <ac:spMkLst>
            <pc:docMk/>
            <pc:sldMk cId="3977638465" sldId="266"/>
            <ac:spMk id="11" creationId="{F520343A-4103-4113-8E4D-00C78583B1A1}"/>
          </ac:spMkLst>
        </pc:spChg>
      </pc:sldChg>
      <pc:sldChg chg="modSp modTransition">
        <pc:chgData name="Devid Treuling" userId="59319ebe-00e0-4bed-b2ef-326bd7e50483" providerId="ADAL" clId="{BD9B40A7-68D7-46EB-BCC5-757646F2802A}" dt="2020-03-30T15:46:30.992" v="150"/>
        <pc:sldMkLst>
          <pc:docMk/>
          <pc:sldMk cId="3596592614" sldId="267"/>
        </pc:sldMkLst>
        <pc:spChg chg="mod">
          <ac:chgData name="Devid Treuling" userId="59319ebe-00e0-4bed-b2ef-326bd7e50483" providerId="ADAL" clId="{BD9B40A7-68D7-46EB-BCC5-757646F2802A}" dt="2020-03-30T15:46:30.449" v="2"/>
          <ac:spMkLst>
            <pc:docMk/>
            <pc:sldMk cId="3596592614" sldId="267"/>
            <ac:spMk id="5" creationId="{27132E6D-A6EE-402B-895A-D0B053AB702A}"/>
          </ac:spMkLst>
        </pc:spChg>
      </pc:sldChg>
      <pc:sldChg chg="modSp modTransition">
        <pc:chgData name="Devid Treuling" userId="59319ebe-00e0-4bed-b2ef-326bd7e50483" providerId="ADAL" clId="{BD9B40A7-68D7-46EB-BCC5-757646F2802A}" dt="2020-03-30T15:46:30.995" v="155"/>
        <pc:sldMkLst>
          <pc:docMk/>
          <pc:sldMk cId="2843332786" sldId="268"/>
        </pc:sldMkLst>
        <pc:spChg chg="mod">
          <ac:chgData name="Devid Treuling" userId="59319ebe-00e0-4bed-b2ef-326bd7e50483" providerId="ADAL" clId="{BD9B40A7-68D7-46EB-BCC5-757646F2802A}" dt="2020-03-30T15:46:30.449" v="2"/>
          <ac:spMkLst>
            <pc:docMk/>
            <pc:sldMk cId="2843332786" sldId="268"/>
            <ac:spMk id="2" creationId="{E0DCCC6D-05C4-4092-8C9D-AA0D46C1A281}"/>
          </ac:spMkLst>
        </pc:spChg>
        <pc:spChg chg="mod">
          <ac:chgData name="Devid Treuling" userId="59319ebe-00e0-4bed-b2ef-326bd7e50483" providerId="ADAL" clId="{BD9B40A7-68D7-46EB-BCC5-757646F2802A}" dt="2020-03-30T15:46:30.449" v="2"/>
          <ac:spMkLst>
            <pc:docMk/>
            <pc:sldMk cId="2843332786" sldId="268"/>
            <ac:spMk id="3" creationId="{00000000-0000-0000-0000-000000000000}"/>
          </ac:spMkLst>
        </pc:spChg>
      </pc:sldChg>
      <pc:sldChg chg="modTransition">
        <pc:chgData name="Devid Treuling" userId="59319ebe-00e0-4bed-b2ef-326bd7e50483" providerId="ADAL" clId="{BD9B40A7-68D7-46EB-BCC5-757646F2802A}" dt="2020-03-30T15:46:30.998" v="160"/>
        <pc:sldMkLst>
          <pc:docMk/>
          <pc:sldMk cId="1094208049" sldId="269"/>
        </pc:sldMkLst>
      </pc:sldChg>
      <pc:sldChg chg="modSp add del modTransition">
        <pc:chgData name="Devid Treuling" userId="59319ebe-00e0-4bed-b2ef-326bd7e50483" providerId="ADAL" clId="{BD9B40A7-68D7-46EB-BCC5-757646F2802A}" dt="2020-03-30T15:46:31.081" v="178" actId="2696"/>
        <pc:sldMkLst>
          <pc:docMk/>
          <pc:sldMk cId="4056762015" sldId="270"/>
        </pc:sldMkLst>
        <pc:spChg chg="mod">
          <ac:chgData name="Devid Treuling" userId="59319ebe-00e0-4bed-b2ef-326bd7e50483" providerId="ADAL" clId="{BD9B40A7-68D7-46EB-BCC5-757646F2802A}" dt="2020-03-30T15:46:30.449" v="2"/>
          <ac:spMkLst>
            <pc:docMk/>
            <pc:sldMk cId="4056762015" sldId="270"/>
            <ac:spMk id="2" creationId="{DDE032E4-AB23-44F4-B872-A5689EF0F28C}"/>
          </ac:spMkLst>
        </pc:spChg>
        <pc:spChg chg="mod">
          <ac:chgData name="Devid Treuling" userId="59319ebe-00e0-4bed-b2ef-326bd7e50483" providerId="ADAL" clId="{BD9B40A7-68D7-46EB-BCC5-757646F2802A}" dt="2020-03-30T15:46:30.449" v="2"/>
          <ac:spMkLst>
            <pc:docMk/>
            <pc:sldMk cId="4056762015" sldId="270"/>
            <ac:spMk id="3" creationId="{4F048C44-0263-46F0-AF53-B441DAB05BEC}"/>
          </ac:spMkLst>
        </pc:spChg>
      </pc:sldChg>
      <pc:sldChg chg="add del">
        <pc:chgData name="Devid Treuling" userId="59319ebe-00e0-4bed-b2ef-326bd7e50483" providerId="ADAL" clId="{BD9B40A7-68D7-46EB-BCC5-757646F2802A}" dt="2020-03-30T15:46:30.758" v="54" actId="2696"/>
        <pc:sldMkLst>
          <pc:docMk/>
          <pc:sldMk cId="24838292" sldId="271"/>
        </pc:sldMkLst>
      </pc:sldChg>
      <pc:sldChg chg="add del">
        <pc:chgData name="Devid Treuling" userId="59319ebe-00e0-4bed-b2ef-326bd7e50483" providerId="ADAL" clId="{BD9B40A7-68D7-46EB-BCC5-757646F2802A}" dt="2020-03-30T15:46:30.654" v="32" actId="2696"/>
        <pc:sldMkLst>
          <pc:docMk/>
          <pc:sldMk cId="26388741" sldId="271"/>
        </pc:sldMkLst>
      </pc:sldChg>
      <pc:sldChg chg="add del">
        <pc:chgData name="Devid Treuling" userId="59319ebe-00e0-4bed-b2ef-326bd7e50483" providerId="ADAL" clId="{BD9B40A7-68D7-46EB-BCC5-757646F2802A}" dt="2020-03-30T15:46:30.873" v="76" actId="2696"/>
        <pc:sldMkLst>
          <pc:docMk/>
          <pc:sldMk cId="174929165" sldId="271"/>
        </pc:sldMkLst>
      </pc:sldChg>
      <pc:sldChg chg="add del">
        <pc:chgData name="Devid Treuling" userId="59319ebe-00e0-4bed-b2ef-326bd7e50483" providerId="ADAL" clId="{BD9B40A7-68D7-46EB-BCC5-757646F2802A}" dt="2020-03-30T15:46:30.580" v="16" actId="2696"/>
        <pc:sldMkLst>
          <pc:docMk/>
          <pc:sldMk cId="209311834" sldId="271"/>
        </pc:sldMkLst>
      </pc:sldChg>
      <pc:sldChg chg="add del">
        <pc:chgData name="Devid Treuling" userId="59319ebe-00e0-4bed-b2ef-326bd7e50483" providerId="ADAL" clId="{BD9B40A7-68D7-46EB-BCC5-757646F2802A}" dt="2020-03-30T15:46:30.692" v="40" actId="2696"/>
        <pc:sldMkLst>
          <pc:docMk/>
          <pc:sldMk cId="383688347" sldId="271"/>
        </pc:sldMkLst>
      </pc:sldChg>
      <pc:sldChg chg="add del">
        <pc:chgData name="Devid Treuling" userId="59319ebe-00e0-4bed-b2ef-326bd7e50483" providerId="ADAL" clId="{BD9B40A7-68D7-46EB-BCC5-757646F2802A}" dt="2020-03-30T15:46:30.739" v="50" actId="2696"/>
        <pc:sldMkLst>
          <pc:docMk/>
          <pc:sldMk cId="537558067" sldId="271"/>
        </pc:sldMkLst>
      </pc:sldChg>
      <pc:sldChg chg="add del">
        <pc:chgData name="Devid Treuling" userId="59319ebe-00e0-4bed-b2ef-326bd7e50483" providerId="ADAL" clId="{BD9B40A7-68D7-46EB-BCC5-757646F2802A}" dt="2020-03-30T15:46:30.607" v="22" actId="2696"/>
        <pc:sldMkLst>
          <pc:docMk/>
          <pc:sldMk cId="585797843" sldId="271"/>
        </pc:sldMkLst>
      </pc:sldChg>
      <pc:sldChg chg="add del">
        <pc:chgData name="Devid Treuling" userId="59319ebe-00e0-4bed-b2ef-326bd7e50483" providerId="ADAL" clId="{BD9B40A7-68D7-46EB-BCC5-757646F2802A}" dt="2020-03-30T15:46:30.931" v="90" actId="2696"/>
        <pc:sldMkLst>
          <pc:docMk/>
          <pc:sldMk cId="600902710" sldId="271"/>
        </pc:sldMkLst>
      </pc:sldChg>
      <pc:sldChg chg="add del">
        <pc:chgData name="Devid Treuling" userId="59319ebe-00e0-4bed-b2ef-326bd7e50483" providerId="ADAL" clId="{BD9B40A7-68D7-46EB-BCC5-757646F2802A}" dt="2020-03-30T15:46:30.529" v="6" actId="2696"/>
        <pc:sldMkLst>
          <pc:docMk/>
          <pc:sldMk cId="615914936" sldId="271"/>
        </pc:sldMkLst>
      </pc:sldChg>
      <pc:sldChg chg="add del">
        <pc:chgData name="Devid Treuling" userId="59319ebe-00e0-4bed-b2ef-326bd7e50483" providerId="ADAL" clId="{BD9B40A7-68D7-46EB-BCC5-757646F2802A}" dt="2020-03-30T15:46:30.646" v="30" actId="2696"/>
        <pc:sldMkLst>
          <pc:docMk/>
          <pc:sldMk cId="812087976" sldId="271"/>
        </pc:sldMkLst>
      </pc:sldChg>
      <pc:sldChg chg="add del">
        <pc:chgData name="Devid Treuling" userId="59319ebe-00e0-4bed-b2ef-326bd7e50483" providerId="ADAL" clId="{BD9B40A7-68D7-46EB-BCC5-757646F2802A}" dt="2020-03-30T15:46:30.748" v="52" actId="2696"/>
        <pc:sldMkLst>
          <pc:docMk/>
          <pc:sldMk cId="812709239" sldId="271"/>
        </pc:sldMkLst>
      </pc:sldChg>
      <pc:sldChg chg="add del">
        <pc:chgData name="Devid Treuling" userId="59319ebe-00e0-4bed-b2ef-326bd7e50483" providerId="ADAL" clId="{BD9B40A7-68D7-46EB-BCC5-757646F2802A}" dt="2020-03-30T15:46:30.801" v="62" actId="2696"/>
        <pc:sldMkLst>
          <pc:docMk/>
          <pc:sldMk cId="816900028" sldId="271"/>
        </pc:sldMkLst>
      </pc:sldChg>
      <pc:sldChg chg="add del">
        <pc:chgData name="Devid Treuling" userId="59319ebe-00e0-4bed-b2ef-326bd7e50483" providerId="ADAL" clId="{BD9B40A7-68D7-46EB-BCC5-757646F2802A}" dt="2020-03-30T15:46:30.882" v="78" actId="2696"/>
        <pc:sldMkLst>
          <pc:docMk/>
          <pc:sldMk cId="836809976" sldId="271"/>
        </pc:sldMkLst>
      </pc:sldChg>
      <pc:sldChg chg="add del">
        <pc:chgData name="Devid Treuling" userId="59319ebe-00e0-4bed-b2ef-326bd7e50483" providerId="ADAL" clId="{BD9B40A7-68D7-46EB-BCC5-757646F2802A}" dt="2020-03-30T15:46:30.772" v="56" actId="2696"/>
        <pc:sldMkLst>
          <pc:docMk/>
          <pc:sldMk cId="938941747" sldId="271"/>
        </pc:sldMkLst>
      </pc:sldChg>
      <pc:sldChg chg="add del">
        <pc:chgData name="Devid Treuling" userId="59319ebe-00e0-4bed-b2ef-326bd7e50483" providerId="ADAL" clId="{BD9B40A7-68D7-46EB-BCC5-757646F2802A}" dt="2020-03-30T15:46:30.708" v="44" actId="2696"/>
        <pc:sldMkLst>
          <pc:docMk/>
          <pc:sldMk cId="988338626" sldId="271"/>
        </pc:sldMkLst>
      </pc:sldChg>
      <pc:sldChg chg="add del">
        <pc:chgData name="Devid Treuling" userId="59319ebe-00e0-4bed-b2ef-326bd7e50483" providerId="ADAL" clId="{BD9B40A7-68D7-46EB-BCC5-757646F2802A}" dt="2020-03-30T15:46:30.728" v="48" actId="2696"/>
        <pc:sldMkLst>
          <pc:docMk/>
          <pc:sldMk cId="1087017851" sldId="271"/>
        </pc:sldMkLst>
      </pc:sldChg>
      <pc:sldChg chg="add del">
        <pc:chgData name="Devid Treuling" userId="59319ebe-00e0-4bed-b2ef-326bd7e50483" providerId="ADAL" clId="{BD9B40A7-68D7-46EB-BCC5-757646F2802A}" dt="2020-03-30T15:46:30.908" v="84" actId="2696"/>
        <pc:sldMkLst>
          <pc:docMk/>
          <pc:sldMk cId="1157402523" sldId="271"/>
        </pc:sldMkLst>
      </pc:sldChg>
      <pc:sldChg chg="add del">
        <pc:chgData name="Devid Treuling" userId="59319ebe-00e0-4bed-b2ef-326bd7e50483" providerId="ADAL" clId="{BD9B40A7-68D7-46EB-BCC5-757646F2802A}" dt="2020-03-30T15:46:30.627" v="26" actId="2696"/>
        <pc:sldMkLst>
          <pc:docMk/>
          <pc:sldMk cId="1293911767" sldId="271"/>
        </pc:sldMkLst>
      </pc:sldChg>
      <pc:sldChg chg="add del">
        <pc:chgData name="Devid Treuling" userId="59319ebe-00e0-4bed-b2ef-326bd7e50483" providerId="ADAL" clId="{BD9B40A7-68D7-46EB-BCC5-757646F2802A}" dt="2020-03-30T15:46:30.864" v="74" actId="2696"/>
        <pc:sldMkLst>
          <pc:docMk/>
          <pc:sldMk cId="1320475389" sldId="271"/>
        </pc:sldMkLst>
      </pc:sldChg>
      <pc:sldChg chg="add del">
        <pc:chgData name="Devid Treuling" userId="59319ebe-00e0-4bed-b2ef-326bd7e50483" providerId="ADAL" clId="{BD9B40A7-68D7-46EB-BCC5-757646F2802A}" dt="2020-03-30T15:46:30.892" v="80" actId="2696"/>
        <pc:sldMkLst>
          <pc:docMk/>
          <pc:sldMk cId="1602195139" sldId="271"/>
        </pc:sldMkLst>
      </pc:sldChg>
      <pc:sldChg chg="add del">
        <pc:chgData name="Devid Treuling" userId="59319ebe-00e0-4bed-b2ef-326bd7e50483" providerId="ADAL" clId="{BD9B40A7-68D7-46EB-BCC5-757646F2802A}" dt="2020-03-30T15:46:30.922" v="88" actId="2696"/>
        <pc:sldMkLst>
          <pc:docMk/>
          <pc:sldMk cId="1629968483" sldId="271"/>
        </pc:sldMkLst>
      </pc:sldChg>
      <pc:sldChg chg="add del">
        <pc:chgData name="Devid Treuling" userId="59319ebe-00e0-4bed-b2ef-326bd7e50483" providerId="ADAL" clId="{BD9B40A7-68D7-46EB-BCC5-757646F2802A}" dt="2020-03-30T15:46:30.675" v="36" actId="2696"/>
        <pc:sldMkLst>
          <pc:docMk/>
          <pc:sldMk cId="1821932808" sldId="271"/>
        </pc:sldMkLst>
      </pc:sldChg>
      <pc:sldChg chg="add del">
        <pc:chgData name="Devid Treuling" userId="59319ebe-00e0-4bed-b2ef-326bd7e50483" providerId="ADAL" clId="{BD9B40A7-68D7-46EB-BCC5-757646F2802A}" dt="2020-03-30T15:46:30.847" v="70" actId="2696"/>
        <pc:sldMkLst>
          <pc:docMk/>
          <pc:sldMk cId="1831128011" sldId="271"/>
        </pc:sldMkLst>
      </pc:sldChg>
      <pc:sldChg chg="add del">
        <pc:chgData name="Devid Treuling" userId="59319ebe-00e0-4bed-b2ef-326bd7e50483" providerId="ADAL" clId="{BD9B40A7-68D7-46EB-BCC5-757646F2802A}" dt="2020-03-30T15:46:30.836" v="68" actId="2696"/>
        <pc:sldMkLst>
          <pc:docMk/>
          <pc:sldMk cId="1874944387" sldId="271"/>
        </pc:sldMkLst>
      </pc:sldChg>
      <pc:sldChg chg="add del">
        <pc:chgData name="Devid Treuling" userId="59319ebe-00e0-4bed-b2ef-326bd7e50483" providerId="ADAL" clId="{BD9B40A7-68D7-46EB-BCC5-757646F2802A}" dt="2020-03-30T15:46:30.812" v="64" actId="2696"/>
        <pc:sldMkLst>
          <pc:docMk/>
          <pc:sldMk cId="1987639521" sldId="271"/>
        </pc:sldMkLst>
      </pc:sldChg>
      <pc:sldChg chg="add del">
        <pc:chgData name="Devid Treuling" userId="59319ebe-00e0-4bed-b2ef-326bd7e50483" providerId="ADAL" clId="{BD9B40A7-68D7-46EB-BCC5-757646F2802A}" dt="2020-03-30T15:46:30.717" v="46" actId="2696"/>
        <pc:sldMkLst>
          <pc:docMk/>
          <pc:sldMk cId="2035686724" sldId="271"/>
        </pc:sldMkLst>
      </pc:sldChg>
      <pc:sldChg chg="add del">
        <pc:chgData name="Devid Treuling" userId="59319ebe-00e0-4bed-b2ef-326bd7e50483" providerId="ADAL" clId="{BD9B40A7-68D7-46EB-BCC5-757646F2802A}" dt="2020-03-30T15:46:30.784" v="58" actId="2696"/>
        <pc:sldMkLst>
          <pc:docMk/>
          <pc:sldMk cId="2076686317" sldId="271"/>
        </pc:sldMkLst>
      </pc:sldChg>
      <pc:sldChg chg="add del">
        <pc:chgData name="Devid Treuling" userId="59319ebe-00e0-4bed-b2ef-326bd7e50483" providerId="ADAL" clId="{BD9B40A7-68D7-46EB-BCC5-757646F2802A}" dt="2020-03-30T15:46:30.856" v="72" actId="2696"/>
        <pc:sldMkLst>
          <pc:docMk/>
          <pc:sldMk cId="2184537088" sldId="271"/>
        </pc:sldMkLst>
      </pc:sldChg>
      <pc:sldChg chg="add del">
        <pc:chgData name="Devid Treuling" userId="59319ebe-00e0-4bed-b2ef-326bd7e50483" providerId="ADAL" clId="{BD9B40A7-68D7-46EB-BCC5-757646F2802A}" dt="2020-03-30T15:46:30.538" v="8" actId="2696"/>
        <pc:sldMkLst>
          <pc:docMk/>
          <pc:sldMk cId="2275841987" sldId="271"/>
        </pc:sldMkLst>
      </pc:sldChg>
      <pc:sldChg chg="add del">
        <pc:chgData name="Devid Treuling" userId="59319ebe-00e0-4bed-b2ef-326bd7e50483" providerId="ADAL" clId="{BD9B40A7-68D7-46EB-BCC5-757646F2802A}" dt="2020-03-30T15:46:30.684" v="38" actId="2696"/>
        <pc:sldMkLst>
          <pc:docMk/>
          <pc:sldMk cId="2318140141" sldId="271"/>
        </pc:sldMkLst>
      </pc:sldChg>
      <pc:sldChg chg="add del">
        <pc:chgData name="Devid Treuling" userId="59319ebe-00e0-4bed-b2ef-326bd7e50483" providerId="ADAL" clId="{BD9B40A7-68D7-46EB-BCC5-757646F2802A}" dt="2020-03-30T15:46:30.568" v="14" actId="2696"/>
        <pc:sldMkLst>
          <pc:docMk/>
          <pc:sldMk cId="2463965004" sldId="271"/>
        </pc:sldMkLst>
      </pc:sldChg>
      <pc:sldChg chg="add del">
        <pc:chgData name="Devid Treuling" userId="59319ebe-00e0-4bed-b2ef-326bd7e50483" providerId="ADAL" clId="{BD9B40A7-68D7-46EB-BCC5-757646F2802A}" dt="2020-03-30T15:46:30.598" v="20" actId="2696"/>
        <pc:sldMkLst>
          <pc:docMk/>
          <pc:sldMk cId="2668626736" sldId="271"/>
        </pc:sldMkLst>
      </pc:sldChg>
      <pc:sldChg chg="add del">
        <pc:chgData name="Devid Treuling" userId="59319ebe-00e0-4bed-b2ef-326bd7e50483" providerId="ADAL" clId="{BD9B40A7-68D7-46EB-BCC5-757646F2802A}" dt="2020-03-30T15:46:30.589" v="18" actId="2696"/>
        <pc:sldMkLst>
          <pc:docMk/>
          <pc:sldMk cId="2840747825" sldId="271"/>
        </pc:sldMkLst>
      </pc:sldChg>
      <pc:sldChg chg="add del">
        <pc:chgData name="Devid Treuling" userId="59319ebe-00e0-4bed-b2ef-326bd7e50483" providerId="ADAL" clId="{BD9B40A7-68D7-46EB-BCC5-757646F2802A}" dt="2020-03-30T15:46:30.826" v="66" actId="2696"/>
        <pc:sldMkLst>
          <pc:docMk/>
          <pc:sldMk cId="2911685531" sldId="271"/>
        </pc:sldMkLst>
      </pc:sldChg>
      <pc:sldChg chg="add del">
        <pc:chgData name="Devid Treuling" userId="59319ebe-00e0-4bed-b2ef-326bd7e50483" providerId="ADAL" clId="{BD9B40A7-68D7-46EB-BCC5-757646F2802A}" dt="2020-03-30T15:46:30.549" v="10" actId="2696"/>
        <pc:sldMkLst>
          <pc:docMk/>
          <pc:sldMk cId="3104000793" sldId="271"/>
        </pc:sldMkLst>
      </pc:sldChg>
      <pc:sldChg chg="add del">
        <pc:chgData name="Devid Treuling" userId="59319ebe-00e0-4bed-b2ef-326bd7e50483" providerId="ADAL" clId="{BD9B40A7-68D7-46EB-BCC5-757646F2802A}" dt="2020-03-30T15:46:30.618" v="24" actId="2696"/>
        <pc:sldMkLst>
          <pc:docMk/>
          <pc:sldMk cId="3144523521" sldId="271"/>
        </pc:sldMkLst>
      </pc:sldChg>
      <pc:sldChg chg="add del">
        <pc:chgData name="Devid Treuling" userId="59319ebe-00e0-4bed-b2ef-326bd7e50483" providerId="ADAL" clId="{BD9B40A7-68D7-46EB-BCC5-757646F2802A}" dt="2020-03-30T15:46:30.557" v="12" actId="2696"/>
        <pc:sldMkLst>
          <pc:docMk/>
          <pc:sldMk cId="3448699608" sldId="271"/>
        </pc:sldMkLst>
      </pc:sldChg>
      <pc:sldChg chg="add del">
        <pc:chgData name="Devid Treuling" userId="59319ebe-00e0-4bed-b2ef-326bd7e50483" providerId="ADAL" clId="{BD9B40A7-68D7-46EB-BCC5-757646F2802A}" dt="2020-03-30T15:46:30.519" v="4" actId="2696"/>
        <pc:sldMkLst>
          <pc:docMk/>
          <pc:sldMk cId="3511695746" sldId="271"/>
        </pc:sldMkLst>
      </pc:sldChg>
      <pc:sldChg chg="add del">
        <pc:chgData name="Devid Treuling" userId="59319ebe-00e0-4bed-b2ef-326bd7e50483" providerId="ADAL" clId="{BD9B40A7-68D7-46EB-BCC5-757646F2802A}" dt="2020-03-30T15:46:30.915" v="86" actId="2696"/>
        <pc:sldMkLst>
          <pc:docMk/>
          <pc:sldMk cId="3672178177" sldId="271"/>
        </pc:sldMkLst>
      </pc:sldChg>
      <pc:sldChg chg="add del">
        <pc:chgData name="Devid Treuling" userId="59319ebe-00e0-4bed-b2ef-326bd7e50483" providerId="ADAL" clId="{BD9B40A7-68D7-46EB-BCC5-757646F2802A}" dt="2020-03-30T15:46:30.700" v="42" actId="2696"/>
        <pc:sldMkLst>
          <pc:docMk/>
          <pc:sldMk cId="3777104470" sldId="271"/>
        </pc:sldMkLst>
      </pc:sldChg>
      <pc:sldChg chg="add del">
        <pc:chgData name="Devid Treuling" userId="59319ebe-00e0-4bed-b2ef-326bd7e50483" providerId="ADAL" clId="{BD9B40A7-68D7-46EB-BCC5-757646F2802A}" dt="2020-03-30T15:46:30.793" v="60" actId="2696"/>
        <pc:sldMkLst>
          <pc:docMk/>
          <pc:sldMk cId="3797561267" sldId="271"/>
        </pc:sldMkLst>
      </pc:sldChg>
      <pc:sldChg chg="add del">
        <pc:chgData name="Devid Treuling" userId="59319ebe-00e0-4bed-b2ef-326bd7e50483" providerId="ADAL" clId="{BD9B40A7-68D7-46EB-BCC5-757646F2802A}" dt="2020-03-30T15:46:30.636" v="28" actId="2696"/>
        <pc:sldMkLst>
          <pc:docMk/>
          <pc:sldMk cId="3829243452" sldId="271"/>
        </pc:sldMkLst>
      </pc:sldChg>
      <pc:sldChg chg="add del">
        <pc:chgData name="Devid Treuling" userId="59319ebe-00e0-4bed-b2ef-326bd7e50483" providerId="ADAL" clId="{BD9B40A7-68D7-46EB-BCC5-757646F2802A}" dt="2020-03-30T15:46:30.900" v="82" actId="2696"/>
        <pc:sldMkLst>
          <pc:docMk/>
          <pc:sldMk cId="3932504419" sldId="271"/>
        </pc:sldMkLst>
      </pc:sldChg>
      <pc:sldChg chg="add del">
        <pc:chgData name="Devid Treuling" userId="59319ebe-00e0-4bed-b2ef-326bd7e50483" providerId="ADAL" clId="{BD9B40A7-68D7-46EB-BCC5-757646F2802A}" dt="2020-03-30T15:46:30.665" v="34" actId="2696"/>
        <pc:sldMkLst>
          <pc:docMk/>
          <pc:sldMk cId="4047870704" sldId="271"/>
        </pc:sldMkLst>
      </pc:sldChg>
      <pc:sldMasterChg chg="addSp modSp del delSldLayout">
        <pc:chgData name="Devid Treuling" userId="59319ebe-00e0-4bed-b2ef-326bd7e50483" providerId="ADAL" clId="{BD9B40A7-68D7-46EB-BCC5-757646F2802A}" dt="2020-03-30T15:46:31.076" v="177" actId="2696"/>
        <pc:sldMasterMkLst>
          <pc:docMk/>
          <pc:sldMasterMk cId="148385369" sldId="2147483807"/>
        </pc:sldMasterMkLst>
        <pc:spChg chg="add mod">
          <ac:chgData name="Devid Treuling" userId="59319ebe-00e0-4bed-b2ef-326bd7e50483" providerId="ADAL" clId="{BD9B40A7-68D7-46EB-BCC5-757646F2802A}" dt="2020-03-30T15:46:30.214" v="0"/>
          <ac:spMkLst>
            <pc:docMk/>
            <pc:sldMasterMk cId="148385369" sldId="2147483807"/>
            <ac:spMk id="2" creationId="{7BF32DED-B87E-4628-8D30-B498402EEDF4}"/>
          </ac:spMkLst>
        </pc:spChg>
        <pc:spChg chg="add mod">
          <ac:chgData name="Devid Treuling" userId="59319ebe-00e0-4bed-b2ef-326bd7e50483" providerId="ADAL" clId="{BD9B40A7-68D7-46EB-BCC5-757646F2802A}" dt="2020-03-30T15:46:30.214" v="0"/>
          <ac:spMkLst>
            <pc:docMk/>
            <pc:sldMasterMk cId="148385369" sldId="2147483807"/>
            <ac:spMk id="3" creationId="{1C5C5584-E95A-412B-8CE0-996D869ECDC6}"/>
          </ac:spMkLst>
        </pc:spChg>
        <pc:spChg chg="add mod">
          <ac:chgData name="Devid Treuling" userId="59319ebe-00e0-4bed-b2ef-326bd7e50483" providerId="ADAL" clId="{BD9B40A7-68D7-46EB-BCC5-757646F2802A}" dt="2020-03-30T15:46:30.214" v="0"/>
          <ac:spMkLst>
            <pc:docMk/>
            <pc:sldMasterMk cId="148385369" sldId="2147483807"/>
            <ac:spMk id="4" creationId="{13248CD2-059F-418F-83AE-91925DA30101}"/>
          </ac:spMkLst>
        </pc:spChg>
        <pc:spChg chg="add mod">
          <ac:chgData name="Devid Treuling" userId="59319ebe-00e0-4bed-b2ef-326bd7e50483" providerId="ADAL" clId="{BD9B40A7-68D7-46EB-BCC5-757646F2802A}" dt="2020-03-30T15:46:30.214" v="0"/>
          <ac:spMkLst>
            <pc:docMk/>
            <pc:sldMasterMk cId="148385369" sldId="2147483807"/>
            <ac:spMk id="5" creationId="{5C7C3C08-B097-4B69-B08B-0531FF8BB6BC}"/>
          </ac:spMkLst>
        </pc:spChg>
        <pc:spChg chg="add mod">
          <ac:chgData name="Devid Treuling" userId="59319ebe-00e0-4bed-b2ef-326bd7e50483" providerId="ADAL" clId="{BD9B40A7-68D7-46EB-BCC5-757646F2802A}" dt="2020-03-30T15:46:30.214" v="0"/>
          <ac:spMkLst>
            <pc:docMk/>
            <pc:sldMasterMk cId="148385369" sldId="2147483807"/>
            <ac:spMk id="6" creationId="{54AB5534-C8B4-4876-8B56-5A9D6407CAE8}"/>
          </ac:spMkLst>
        </pc:spChg>
        <pc:sldLayoutChg chg="del">
          <pc:chgData name="Devid Treuling" userId="59319ebe-00e0-4bed-b2ef-326bd7e50483" providerId="ADAL" clId="{BD9B40A7-68D7-46EB-BCC5-757646F2802A}" dt="2020-03-30T15:46:31.032" v="166" actId="2696"/>
          <pc:sldLayoutMkLst>
            <pc:docMk/>
            <pc:sldMasterMk cId="148385369" sldId="2147483807"/>
            <pc:sldLayoutMk cId="1663441160" sldId="2147483808"/>
          </pc:sldLayoutMkLst>
        </pc:sldLayoutChg>
        <pc:sldLayoutChg chg="del">
          <pc:chgData name="Devid Treuling" userId="59319ebe-00e0-4bed-b2ef-326bd7e50483" providerId="ADAL" clId="{BD9B40A7-68D7-46EB-BCC5-757646F2802A}" dt="2020-03-30T15:46:31.036" v="167" actId="2696"/>
          <pc:sldLayoutMkLst>
            <pc:docMk/>
            <pc:sldMasterMk cId="148385369" sldId="2147483807"/>
            <pc:sldLayoutMk cId="2540752223" sldId="2147483809"/>
          </pc:sldLayoutMkLst>
        </pc:sldLayoutChg>
        <pc:sldLayoutChg chg="del">
          <pc:chgData name="Devid Treuling" userId="59319ebe-00e0-4bed-b2ef-326bd7e50483" providerId="ADAL" clId="{BD9B40A7-68D7-46EB-BCC5-757646F2802A}" dt="2020-03-30T15:46:31.040" v="168" actId="2696"/>
          <pc:sldLayoutMkLst>
            <pc:docMk/>
            <pc:sldMasterMk cId="148385369" sldId="2147483807"/>
            <pc:sldLayoutMk cId="2662298764" sldId="2147483810"/>
          </pc:sldLayoutMkLst>
        </pc:sldLayoutChg>
        <pc:sldLayoutChg chg="del">
          <pc:chgData name="Devid Treuling" userId="59319ebe-00e0-4bed-b2ef-326bd7e50483" providerId="ADAL" clId="{BD9B40A7-68D7-46EB-BCC5-757646F2802A}" dt="2020-03-30T15:46:31.044" v="169" actId="2696"/>
          <pc:sldLayoutMkLst>
            <pc:docMk/>
            <pc:sldMasterMk cId="148385369" sldId="2147483807"/>
            <pc:sldLayoutMk cId="1512736475" sldId="2147483811"/>
          </pc:sldLayoutMkLst>
        </pc:sldLayoutChg>
        <pc:sldLayoutChg chg="del">
          <pc:chgData name="Devid Treuling" userId="59319ebe-00e0-4bed-b2ef-326bd7e50483" providerId="ADAL" clId="{BD9B40A7-68D7-46EB-BCC5-757646F2802A}" dt="2020-03-30T15:46:31.049" v="170" actId="2696"/>
          <pc:sldLayoutMkLst>
            <pc:docMk/>
            <pc:sldMasterMk cId="148385369" sldId="2147483807"/>
            <pc:sldLayoutMk cId="2838614088" sldId="2147483812"/>
          </pc:sldLayoutMkLst>
        </pc:sldLayoutChg>
        <pc:sldLayoutChg chg="del">
          <pc:chgData name="Devid Treuling" userId="59319ebe-00e0-4bed-b2ef-326bd7e50483" providerId="ADAL" clId="{BD9B40A7-68D7-46EB-BCC5-757646F2802A}" dt="2020-03-30T15:46:31.052" v="171" actId="2696"/>
          <pc:sldLayoutMkLst>
            <pc:docMk/>
            <pc:sldMasterMk cId="148385369" sldId="2147483807"/>
            <pc:sldLayoutMk cId="2498982971" sldId="2147483813"/>
          </pc:sldLayoutMkLst>
        </pc:sldLayoutChg>
        <pc:sldLayoutChg chg="del">
          <pc:chgData name="Devid Treuling" userId="59319ebe-00e0-4bed-b2ef-326bd7e50483" providerId="ADAL" clId="{BD9B40A7-68D7-46EB-BCC5-757646F2802A}" dt="2020-03-30T15:46:31.056" v="172" actId="2696"/>
          <pc:sldLayoutMkLst>
            <pc:docMk/>
            <pc:sldMasterMk cId="148385369" sldId="2147483807"/>
            <pc:sldLayoutMk cId="1450734048" sldId="2147483814"/>
          </pc:sldLayoutMkLst>
        </pc:sldLayoutChg>
        <pc:sldLayoutChg chg="del">
          <pc:chgData name="Devid Treuling" userId="59319ebe-00e0-4bed-b2ef-326bd7e50483" providerId="ADAL" clId="{BD9B40A7-68D7-46EB-BCC5-757646F2802A}" dt="2020-03-30T15:46:31.060" v="173" actId="2696"/>
          <pc:sldLayoutMkLst>
            <pc:docMk/>
            <pc:sldMasterMk cId="148385369" sldId="2147483807"/>
            <pc:sldLayoutMk cId="1651121265" sldId="2147483815"/>
          </pc:sldLayoutMkLst>
        </pc:sldLayoutChg>
        <pc:sldLayoutChg chg="del">
          <pc:chgData name="Devid Treuling" userId="59319ebe-00e0-4bed-b2ef-326bd7e50483" providerId="ADAL" clId="{BD9B40A7-68D7-46EB-BCC5-757646F2802A}" dt="2020-03-30T15:46:31.064" v="174" actId="2696"/>
          <pc:sldLayoutMkLst>
            <pc:docMk/>
            <pc:sldMasterMk cId="148385369" sldId="2147483807"/>
            <pc:sldLayoutMk cId="2688497052" sldId="2147483816"/>
          </pc:sldLayoutMkLst>
        </pc:sldLayoutChg>
        <pc:sldLayoutChg chg="del">
          <pc:chgData name="Devid Treuling" userId="59319ebe-00e0-4bed-b2ef-326bd7e50483" providerId="ADAL" clId="{BD9B40A7-68D7-46EB-BCC5-757646F2802A}" dt="2020-03-30T15:46:31.068" v="175" actId="2696"/>
          <pc:sldLayoutMkLst>
            <pc:docMk/>
            <pc:sldMasterMk cId="148385369" sldId="2147483807"/>
            <pc:sldLayoutMk cId="4017846506" sldId="2147483817"/>
          </pc:sldLayoutMkLst>
        </pc:sldLayoutChg>
        <pc:sldLayoutChg chg="del">
          <pc:chgData name="Devid Treuling" userId="59319ebe-00e0-4bed-b2ef-326bd7e50483" providerId="ADAL" clId="{BD9B40A7-68D7-46EB-BCC5-757646F2802A}" dt="2020-03-30T15:46:31.072" v="176" actId="2696"/>
          <pc:sldLayoutMkLst>
            <pc:docMk/>
            <pc:sldMasterMk cId="148385369" sldId="2147483807"/>
            <pc:sldLayoutMk cId="4185818252" sldId="2147483818"/>
          </pc:sldLayoutMkLst>
        </pc:sldLayoutChg>
      </pc:sldMasterChg>
    </pc:docChg>
  </pc:docChgLst>
  <pc:docChgLst>
    <pc:chgData name="Devid Treuling" userId="59319ebe-00e0-4bed-b2ef-326bd7e50483" providerId="ADAL" clId="{398C985C-4939-4904-9544-A192F358B56A}"/>
    <pc:docChg chg="undo custSel addSld delSld modSld addMainMaster delMainMaster modMainMaster">
      <pc:chgData name="Devid Treuling" userId="59319ebe-00e0-4bed-b2ef-326bd7e50483" providerId="ADAL" clId="{398C985C-4939-4904-9544-A192F358B56A}" dt="2020-05-20T16:13:01.605" v="776" actId="2696"/>
      <pc:docMkLst>
        <pc:docMk/>
      </pc:docMkLst>
      <pc:sldChg chg="modSp modTransition">
        <pc:chgData name="Devid Treuling" userId="59319ebe-00e0-4bed-b2ef-326bd7e50483" providerId="ADAL" clId="{398C985C-4939-4904-9544-A192F358B56A}" dt="2020-05-20T16:13:01.482" v="693"/>
        <pc:sldMkLst>
          <pc:docMk/>
          <pc:sldMk cId="2181956486" sldId="256"/>
        </pc:sldMkLst>
        <pc:spChg chg="mod">
          <ac:chgData name="Devid Treuling" userId="59319ebe-00e0-4bed-b2ef-326bd7e50483" providerId="ADAL" clId="{398C985C-4939-4904-9544-A192F358B56A}" dt="2020-05-20T16:13:00.795" v="600"/>
          <ac:spMkLst>
            <pc:docMk/>
            <pc:sldMk cId="2181956486" sldId="256"/>
            <ac:spMk id="4" creationId="{00000000-0000-0000-0000-000000000000}"/>
          </ac:spMkLst>
        </pc:spChg>
        <pc:spChg chg="mod">
          <ac:chgData name="Devid Treuling" userId="59319ebe-00e0-4bed-b2ef-326bd7e50483" providerId="ADAL" clId="{398C985C-4939-4904-9544-A192F358B56A}" dt="2020-05-20T16:13:00.795" v="600"/>
          <ac:spMkLst>
            <pc:docMk/>
            <pc:sldMk cId="2181956486" sldId="256"/>
            <ac:spMk id="6" creationId="{12808BD5-6BEE-4164-9264-E55A823F2E3D}"/>
          </ac:spMkLst>
        </pc:spChg>
        <pc:picChg chg="mod">
          <ac:chgData name="Devid Treuling" userId="59319ebe-00e0-4bed-b2ef-326bd7e50483" providerId="ADAL" clId="{398C985C-4939-4904-9544-A192F358B56A}" dt="2020-05-20T16:13:00.795" v="600"/>
          <ac:picMkLst>
            <pc:docMk/>
            <pc:sldMk cId="2181956486" sldId="256"/>
            <ac:picMk id="8" creationId="{DEBB7B6C-5800-4217-A7DA-4983C5C30F7A}"/>
          </ac:picMkLst>
        </pc:picChg>
      </pc:sldChg>
      <pc:sldChg chg="modTransition">
        <pc:chgData name="Devid Treuling" userId="59319ebe-00e0-4bed-b2ef-326bd7e50483" providerId="ADAL" clId="{398C985C-4939-4904-9544-A192F358B56A}" dt="2020-05-20T16:13:01.486" v="698"/>
        <pc:sldMkLst>
          <pc:docMk/>
          <pc:sldMk cId="2242852715" sldId="257"/>
        </pc:sldMkLst>
      </pc:sldChg>
      <pc:sldChg chg="modSp modTransition">
        <pc:chgData name="Devid Treuling" userId="59319ebe-00e0-4bed-b2ef-326bd7e50483" providerId="ADAL" clId="{398C985C-4939-4904-9544-A192F358B56A}" dt="2020-05-20T16:13:01.490" v="703"/>
        <pc:sldMkLst>
          <pc:docMk/>
          <pc:sldMk cId="3001679096" sldId="258"/>
        </pc:sldMkLst>
        <pc:spChg chg="mod">
          <ac:chgData name="Devid Treuling" userId="59319ebe-00e0-4bed-b2ef-326bd7e50483" providerId="ADAL" clId="{398C985C-4939-4904-9544-A192F358B56A}" dt="2020-05-20T16:13:00.795" v="600"/>
          <ac:spMkLst>
            <pc:docMk/>
            <pc:sldMk cId="3001679096" sldId="258"/>
            <ac:spMk id="2" creationId="{0D571322-9F37-477D-9B5B-EBF49D8B1DE4}"/>
          </ac:spMkLst>
        </pc:spChg>
        <pc:spChg chg="mod">
          <ac:chgData name="Devid Treuling" userId="59319ebe-00e0-4bed-b2ef-326bd7e50483" providerId="ADAL" clId="{398C985C-4939-4904-9544-A192F358B56A}" dt="2020-05-20T16:13:00.795" v="600"/>
          <ac:spMkLst>
            <pc:docMk/>
            <pc:sldMk cId="3001679096" sldId="258"/>
            <ac:spMk id="3" creationId="{355F4707-2382-4D2B-8385-1E54F39F514C}"/>
          </ac:spMkLst>
        </pc:spChg>
      </pc:sldChg>
      <pc:sldChg chg="modSp modTransition">
        <pc:chgData name="Devid Treuling" userId="59319ebe-00e0-4bed-b2ef-326bd7e50483" providerId="ADAL" clId="{398C985C-4939-4904-9544-A192F358B56A}" dt="2020-05-20T16:13:01.495" v="708"/>
        <pc:sldMkLst>
          <pc:docMk/>
          <pc:sldMk cId="1635881331" sldId="259"/>
        </pc:sldMkLst>
        <pc:spChg chg="mod">
          <ac:chgData name="Devid Treuling" userId="59319ebe-00e0-4bed-b2ef-326bd7e50483" providerId="ADAL" clId="{398C985C-4939-4904-9544-A192F358B56A}" dt="2020-05-20T16:13:00.795" v="600"/>
          <ac:spMkLst>
            <pc:docMk/>
            <pc:sldMk cId="1635881331" sldId="259"/>
            <ac:spMk id="5" creationId="{27132E6D-A6EE-402B-895A-D0B053AB702A}"/>
          </ac:spMkLst>
        </pc:spChg>
      </pc:sldChg>
      <pc:sldChg chg="modSp modTransition">
        <pc:chgData name="Devid Treuling" userId="59319ebe-00e0-4bed-b2ef-326bd7e50483" providerId="ADAL" clId="{398C985C-4939-4904-9544-A192F358B56A}" dt="2020-05-20T16:13:01.499" v="713"/>
        <pc:sldMkLst>
          <pc:docMk/>
          <pc:sldMk cId="1732864890" sldId="260"/>
        </pc:sldMkLst>
        <pc:spChg chg="mod">
          <ac:chgData name="Devid Treuling" userId="59319ebe-00e0-4bed-b2ef-326bd7e50483" providerId="ADAL" clId="{398C985C-4939-4904-9544-A192F358B56A}" dt="2020-05-20T16:13:00.795" v="600"/>
          <ac:spMkLst>
            <pc:docMk/>
            <pc:sldMk cId="1732864890" sldId="260"/>
            <ac:spMk id="4" creationId="{3BDD850C-29B9-4641-B580-0B91B9EBAE00}"/>
          </ac:spMkLst>
        </pc:spChg>
        <pc:spChg chg="mod">
          <ac:chgData name="Devid Treuling" userId="59319ebe-00e0-4bed-b2ef-326bd7e50483" providerId="ADAL" clId="{398C985C-4939-4904-9544-A192F358B56A}" dt="2020-05-20T16:13:00.795" v="600"/>
          <ac:spMkLst>
            <pc:docMk/>
            <pc:sldMk cId="1732864890" sldId="260"/>
            <ac:spMk id="5" creationId="{55182462-DFDF-4D48-A92C-42FD52821C4E}"/>
          </ac:spMkLst>
        </pc:spChg>
        <pc:spChg chg="mod">
          <ac:chgData name="Devid Treuling" userId="59319ebe-00e0-4bed-b2ef-326bd7e50483" providerId="ADAL" clId="{398C985C-4939-4904-9544-A192F358B56A}" dt="2020-05-20T16:13:00.795" v="600"/>
          <ac:spMkLst>
            <pc:docMk/>
            <pc:sldMk cId="1732864890" sldId="260"/>
            <ac:spMk id="7" creationId="{D26C7312-6643-4F44-86B4-FA64F536177B}"/>
          </ac:spMkLst>
        </pc:spChg>
      </pc:sldChg>
      <pc:sldChg chg="modSp modTransition">
        <pc:chgData name="Devid Treuling" userId="59319ebe-00e0-4bed-b2ef-326bd7e50483" providerId="ADAL" clId="{398C985C-4939-4904-9544-A192F358B56A}" dt="2020-05-20T16:13:01.502" v="718"/>
        <pc:sldMkLst>
          <pc:docMk/>
          <pc:sldMk cId="914707366" sldId="261"/>
        </pc:sldMkLst>
        <pc:spChg chg="mod">
          <ac:chgData name="Devid Treuling" userId="59319ebe-00e0-4bed-b2ef-326bd7e50483" providerId="ADAL" clId="{398C985C-4939-4904-9544-A192F358B56A}" dt="2020-05-20T16:13:00.795" v="600"/>
          <ac:spMkLst>
            <pc:docMk/>
            <pc:sldMk cId="914707366" sldId="261"/>
            <ac:spMk id="2"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3"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12" creationId="{C4226080-F4D3-473F-8324-DFB4ADA600CB}"/>
          </ac:spMkLst>
        </pc:spChg>
      </pc:sldChg>
      <pc:sldChg chg="modSp modTransition">
        <pc:chgData name="Devid Treuling" userId="59319ebe-00e0-4bed-b2ef-326bd7e50483" providerId="ADAL" clId="{398C985C-4939-4904-9544-A192F358B56A}" dt="2020-05-20T16:13:01.505" v="723"/>
        <pc:sldMkLst>
          <pc:docMk/>
          <pc:sldMk cId="2379444036" sldId="262"/>
        </pc:sldMkLst>
        <pc:spChg chg="mod">
          <ac:chgData name="Devid Treuling" userId="59319ebe-00e0-4bed-b2ef-326bd7e50483" providerId="ADAL" clId="{398C985C-4939-4904-9544-A192F358B56A}" dt="2020-05-20T16:13:00.795" v="600"/>
          <ac:spMkLst>
            <pc:docMk/>
            <pc:sldMk cId="2379444036" sldId="262"/>
            <ac:spMk id="4" creationId="{9CBC6F63-616D-478D-A91D-8B071350BF64}"/>
          </ac:spMkLst>
        </pc:spChg>
      </pc:sldChg>
      <pc:sldChg chg="modSp modTransition">
        <pc:chgData name="Devid Treuling" userId="59319ebe-00e0-4bed-b2ef-326bd7e50483" providerId="ADAL" clId="{398C985C-4939-4904-9544-A192F358B56A}" dt="2020-05-20T16:13:01.507" v="728"/>
        <pc:sldMkLst>
          <pc:docMk/>
          <pc:sldMk cId="1385431110" sldId="263"/>
        </pc:sldMkLst>
        <pc:spChg chg="mod">
          <ac:chgData name="Devid Treuling" userId="59319ebe-00e0-4bed-b2ef-326bd7e50483" providerId="ADAL" clId="{398C985C-4939-4904-9544-A192F358B56A}" dt="2020-05-20T16:13:00.795" v="600"/>
          <ac:spMkLst>
            <pc:docMk/>
            <pc:sldMk cId="1385431110" sldId="263"/>
            <ac:spMk id="2" creationId="{E0DCCC6D-05C4-4092-8C9D-AA0D46C1A281}"/>
          </ac:spMkLst>
        </pc:spChg>
        <pc:spChg chg="mod">
          <ac:chgData name="Devid Treuling" userId="59319ebe-00e0-4bed-b2ef-326bd7e50483" providerId="ADAL" clId="{398C985C-4939-4904-9544-A192F358B56A}" dt="2020-05-20T16:13:00.795" v="600"/>
          <ac:spMkLst>
            <pc:docMk/>
            <pc:sldMk cId="1385431110" sldId="263"/>
            <ac:spMk id="3" creationId="{00000000-0000-0000-0000-000000000000}"/>
          </ac:spMkLst>
        </pc:spChg>
      </pc:sldChg>
      <pc:sldChg chg="modSp modTransition">
        <pc:chgData name="Devid Treuling" userId="59319ebe-00e0-4bed-b2ef-326bd7e50483" providerId="ADAL" clId="{398C985C-4939-4904-9544-A192F358B56A}" dt="2020-05-20T16:13:01.510" v="733"/>
        <pc:sldMkLst>
          <pc:docMk/>
          <pc:sldMk cId="3996308554" sldId="264"/>
        </pc:sldMkLst>
        <pc:spChg chg="mod">
          <ac:chgData name="Devid Treuling" userId="59319ebe-00e0-4bed-b2ef-326bd7e50483" providerId="ADAL" clId="{398C985C-4939-4904-9544-A192F358B56A}" dt="2020-05-20T16:13:00.795" v="600"/>
          <ac:spMkLst>
            <pc:docMk/>
            <pc:sldMk cId="3996308554" sldId="264"/>
            <ac:spMk id="3" creationId="{8F64A22E-2B43-4FC6-AF08-0CDB3F9E9269}"/>
          </ac:spMkLst>
        </pc:spChg>
        <pc:spChg chg="mod">
          <ac:chgData name="Devid Treuling" userId="59319ebe-00e0-4bed-b2ef-326bd7e50483" providerId="ADAL" clId="{398C985C-4939-4904-9544-A192F358B56A}" dt="2020-05-20T16:13:00.795" v="600"/>
          <ac:spMkLst>
            <pc:docMk/>
            <pc:sldMk cId="3996308554" sldId="264"/>
            <ac:spMk id="7" creationId="{B0504AD0-36BB-4D91-BEB6-18A5CDC8B4E0}"/>
          </ac:spMkLst>
        </pc:spChg>
        <pc:picChg chg="mod">
          <ac:chgData name="Devid Treuling" userId="59319ebe-00e0-4bed-b2ef-326bd7e50483" providerId="ADAL" clId="{398C985C-4939-4904-9544-A192F358B56A}" dt="2020-05-20T16:13:00.795" v="600"/>
          <ac:picMkLst>
            <pc:docMk/>
            <pc:sldMk cId="3996308554" sldId="264"/>
            <ac:picMk id="16" creationId="{F27CF966-34DA-4658-8DA3-65A171614831}"/>
          </ac:picMkLst>
        </pc:picChg>
      </pc:sldChg>
      <pc:sldChg chg="modSp modTransition">
        <pc:chgData name="Devid Treuling" userId="59319ebe-00e0-4bed-b2ef-326bd7e50483" providerId="ADAL" clId="{398C985C-4939-4904-9544-A192F358B56A}" dt="2020-05-20T16:13:01.514" v="738"/>
        <pc:sldMkLst>
          <pc:docMk/>
          <pc:sldMk cId="4145703054" sldId="265"/>
        </pc:sldMkLst>
        <pc:spChg chg="mod">
          <ac:chgData name="Devid Treuling" userId="59319ebe-00e0-4bed-b2ef-326bd7e50483" providerId="ADAL" clId="{398C985C-4939-4904-9544-A192F358B56A}" dt="2020-05-20T16:13:00.795" v="600"/>
          <ac:spMkLst>
            <pc:docMk/>
            <pc:sldMk cId="4145703054" sldId="265"/>
            <ac:spMk id="2" creationId="{4615BB0C-211A-4A6B-A4FE-D9C725309C49}"/>
          </ac:spMkLst>
        </pc:spChg>
        <pc:spChg chg="mod">
          <ac:chgData name="Devid Treuling" userId="59319ebe-00e0-4bed-b2ef-326bd7e50483" providerId="ADAL" clId="{398C985C-4939-4904-9544-A192F358B56A}" dt="2020-05-20T16:13:00.795" v="600"/>
          <ac:spMkLst>
            <pc:docMk/>
            <pc:sldMk cId="4145703054" sldId="265"/>
            <ac:spMk id="15" creationId="{6DAA8F88-5BE5-4DEB-B8E1-CCA52313CEB8}"/>
          </ac:spMkLst>
        </pc:spChg>
        <pc:picChg chg="mod">
          <ac:chgData name="Devid Treuling" userId="59319ebe-00e0-4bed-b2ef-326bd7e50483" providerId="ADAL" clId="{398C985C-4939-4904-9544-A192F358B56A}" dt="2020-05-20T16:13:00.795" v="600"/>
          <ac:picMkLst>
            <pc:docMk/>
            <pc:sldMk cId="4145703054" sldId="265"/>
            <ac:picMk id="36" creationId="{E609CE4D-9188-4CF4-804D-5F16F38688F4}"/>
          </ac:picMkLst>
        </pc:picChg>
      </pc:sldChg>
      <pc:sldChg chg="modSp modTransition">
        <pc:chgData name="Devid Treuling" userId="59319ebe-00e0-4bed-b2ef-326bd7e50483" providerId="ADAL" clId="{398C985C-4939-4904-9544-A192F358B56A}" dt="2020-05-20T16:13:01.517" v="743"/>
        <pc:sldMkLst>
          <pc:docMk/>
          <pc:sldMk cId="3977638465" sldId="266"/>
        </pc:sldMkLst>
        <pc:spChg chg="mod">
          <ac:chgData name="Devid Treuling" userId="59319ebe-00e0-4bed-b2ef-326bd7e50483" providerId="ADAL" clId="{398C985C-4939-4904-9544-A192F358B56A}" dt="2020-05-20T16:13:00.795" v="600"/>
          <ac:spMkLst>
            <pc:docMk/>
            <pc:sldMk cId="3977638465" sldId="266"/>
            <ac:spMk id="2" creationId="{BC57B38C-8413-4861-A4F5-7DF656AEAD0D}"/>
          </ac:spMkLst>
        </pc:spChg>
        <pc:spChg chg="mod">
          <ac:chgData name="Devid Treuling" userId="59319ebe-00e0-4bed-b2ef-326bd7e50483" providerId="ADAL" clId="{398C985C-4939-4904-9544-A192F358B56A}" dt="2020-05-20T16:13:00.795" v="600"/>
          <ac:spMkLst>
            <pc:docMk/>
            <pc:sldMk cId="3977638465" sldId="266"/>
            <ac:spMk id="10" creationId="{3AEB9F1D-7FAA-4E4F-8117-85F44C19869A}"/>
          </ac:spMkLst>
        </pc:spChg>
        <pc:spChg chg="mod">
          <ac:chgData name="Devid Treuling" userId="59319ebe-00e0-4bed-b2ef-326bd7e50483" providerId="ADAL" clId="{398C985C-4939-4904-9544-A192F358B56A}" dt="2020-05-20T16:13:00.795" v="600"/>
          <ac:spMkLst>
            <pc:docMk/>
            <pc:sldMk cId="3977638465" sldId="266"/>
            <ac:spMk id="11" creationId="{F520343A-4103-4113-8E4D-00C78583B1A1}"/>
          </ac:spMkLst>
        </pc:spChg>
      </pc:sldChg>
      <pc:sldChg chg="modSp modTransition">
        <pc:chgData name="Devid Treuling" userId="59319ebe-00e0-4bed-b2ef-326bd7e50483" providerId="ADAL" clId="{398C985C-4939-4904-9544-A192F358B56A}" dt="2020-05-20T16:13:01.519" v="748"/>
        <pc:sldMkLst>
          <pc:docMk/>
          <pc:sldMk cId="3596592614" sldId="267"/>
        </pc:sldMkLst>
        <pc:spChg chg="mod">
          <ac:chgData name="Devid Treuling" userId="59319ebe-00e0-4bed-b2ef-326bd7e50483" providerId="ADAL" clId="{398C985C-4939-4904-9544-A192F358B56A}" dt="2020-05-20T16:13:00.795" v="600"/>
          <ac:spMkLst>
            <pc:docMk/>
            <pc:sldMk cId="3596592614" sldId="267"/>
            <ac:spMk id="5" creationId="{27132E6D-A6EE-402B-895A-D0B053AB702A}"/>
          </ac:spMkLst>
        </pc:spChg>
      </pc:sldChg>
      <pc:sldChg chg="modSp modTransition">
        <pc:chgData name="Devid Treuling" userId="59319ebe-00e0-4bed-b2ef-326bd7e50483" providerId="ADAL" clId="{398C985C-4939-4904-9544-A192F358B56A}" dt="2020-05-20T16:13:01.522" v="753"/>
        <pc:sldMkLst>
          <pc:docMk/>
          <pc:sldMk cId="2843332786" sldId="268"/>
        </pc:sldMkLst>
        <pc:spChg chg="mod">
          <ac:chgData name="Devid Treuling" userId="59319ebe-00e0-4bed-b2ef-326bd7e50483" providerId="ADAL" clId="{398C985C-4939-4904-9544-A192F358B56A}" dt="2020-05-20T16:13:00.795" v="600"/>
          <ac:spMkLst>
            <pc:docMk/>
            <pc:sldMk cId="2843332786" sldId="268"/>
            <ac:spMk id="2" creationId="{E0DCCC6D-05C4-4092-8C9D-AA0D46C1A281}"/>
          </ac:spMkLst>
        </pc:spChg>
        <pc:spChg chg="mod">
          <ac:chgData name="Devid Treuling" userId="59319ebe-00e0-4bed-b2ef-326bd7e50483" providerId="ADAL" clId="{398C985C-4939-4904-9544-A192F358B56A}" dt="2020-05-20T16:13:00.795" v="600"/>
          <ac:spMkLst>
            <pc:docMk/>
            <pc:sldMk cId="2843332786" sldId="268"/>
            <ac:spMk id="3" creationId="{00000000-0000-0000-0000-000000000000}"/>
          </ac:spMkLst>
        </pc:spChg>
      </pc:sldChg>
      <pc:sldChg chg="modTransition">
        <pc:chgData name="Devid Treuling" userId="59319ebe-00e0-4bed-b2ef-326bd7e50483" providerId="ADAL" clId="{398C985C-4939-4904-9544-A192F358B56A}" dt="2020-05-20T16:13:01.525" v="758"/>
        <pc:sldMkLst>
          <pc:docMk/>
          <pc:sldMk cId="1094208049" sldId="269"/>
        </pc:sldMkLst>
      </pc:sldChg>
      <pc:sldChg chg="modSp add del modTransition">
        <pc:chgData name="Devid Treuling" userId="59319ebe-00e0-4bed-b2ef-326bd7e50483" providerId="ADAL" clId="{398C985C-4939-4904-9544-A192F358B56A}" dt="2020-05-20T16:13:01.605" v="776" actId="2696"/>
        <pc:sldMkLst>
          <pc:docMk/>
          <pc:sldMk cId="335324268" sldId="270"/>
        </pc:sldMkLst>
        <pc:spChg chg="mod">
          <ac:chgData name="Devid Treuling" userId="59319ebe-00e0-4bed-b2ef-326bd7e50483" providerId="ADAL" clId="{398C985C-4939-4904-9544-A192F358B56A}" dt="2020-05-20T16:13:00.795" v="600"/>
          <ac:spMkLst>
            <pc:docMk/>
            <pc:sldMk cId="335324268" sldId="270"/>
            <ac:spMk id="2" creationId="{2D3A4FD7-13A3-4DA6-B45D-F9C53C9F2DBE}"/>
          </ac:spMkLst>
        </pc:spChg>
        <pc:spChg chg="mod">
          <ac:chgData name="Devid Treuling" userId="59319ebe-00e0-4bed-b2ef-326bd7e50483" providerId="ADAL" clId="{398C985C-4939-4904-9544-A192F358B56A}" dt="2020-05-20T16:13:00.795" v="600"/>
          <ac:spMkLst>
            <pc:docMk/>
            <pc:sldMk cId="335324268" sldId="270"/>
            <ac:spMk id="3" creationId="{E6E80BC3-0F20-4181-9AFB-A28E3E77BA45}"/>
          </ac:spMkLst>
        </pc:spChg>
      </pc:sldChg>
      <pc:sldChg chg="modSp add del modTransition">
        <pc:chgData name="Devid Treuling" userId="59319ebe-00e0-4bed-b2ef-326bd7e50483" providerId="ADAL" clId="{398C985C-4939-4904-9544-A192F358B56A}" dt="2020-05-20T16:08:52.991" v="596" actId="2696"/>
        <pc:sldMkLst>
          <pc:docMk/>
          <pc:sldMk cId="1931592040" sldId="270"/>
        </pc:sldMkLst>
        <pc:spChg chg="mod">
          <ac:chgData name="Devid Treuling" userId="59319ebe-00e0-4bed-b2ef-326bd7e50483" providerId="ADAL" clId="{398C985C-4939-4904-9544-A192F358B56A}" dt="2020-05-20T16:08:52.459" v="420"/>
          <ac:spMkLst>
            <pc:docMk/>
            <pc:sldMk cId="1931592040" sldId="270"/>
            <ac:spMk id="2" creationId="{766E78AD-CCC5-4C39-A7E3-1B005F93A143}"/>
          </ac:spMkLst>
        </pc:spChg>
        <pc:spChg chg="mod">
          <ac:chgData name="Devid Treuling" userId="59319ebe-00e0-4bed-b2ef-326bd7e50483" providerId="ADAL" clId="{398C985C-4939-4904-9544-A192F358B56A}" dt="2020-05-20T16:08:52.459" v="420"/>
          <ac:spMkLst>
            <pc:docMk/>
            <pc:sldMk cId="1931592040" sldId="270"/>
            <ac:spMk id="3" creationId="{D8FC1111-34E1-4977-A0CE-6FDBDFF0688B}"/>
          </ac:spMkLst>
        </pc:spChg>
      </pc:sldChg>
      <pc:sldChg chg="modSp add del modTransition">
        <pc:chgData name="Devid Treuling" userId="59319ebe-00e0-4bed-b2ef-326bd7e50483" providerId="ADAL" clId="{398C985C-4939-4904-9544-A192F358B56A}" dt="2020-05-20T16:05:25.617" v="416" actId="2696"/>
        <pc:sldMkLst>
          <pc:docMk/>
          <pc:sldMk cId="2023283921" sldId="270"/>
        </pc:sldMkLst>
        <pc:spChg chg="mod">
          <ac:chgData name="Devid Treuling" userId="59319ebe-00e0-4bed-b2ef-326bd7e50483" providerId="ADAL" clId="{398C985C-4939-4904-9544-A192F358B56A}" dt="2020-05-20T16:05:25.160" v="240"/>
          <ac:spMkLst>
            <pc:docMk/>
            <pc:sldMk cId="2023283921" sldId="270"/>
            <ac:spMk id="2" creationId="{F2EAFF10-CFA8-4D63-ADB3-61AB3556C466}"/>
          </ac:spMkLst>
        </pc:spChg>
        <pc:spChg chg="mod">
          <ac:chgData name="Devid Treuling" userId="59319ebe-00e0-4bed-b2ef-326bd7e50483" providerId="ADAL" clId="{398C985C-4939-4904-9544-A192F358B56A}" dt="2020-05-20T16:05:25.160" v="240"/>
          <ac:spMkLst>
            <pc:docMk/>
            <pc:sldMk cId="2023283921" sldId="270"/>
            <ac:spMk id="3" creationId="{3354AE07-D3B6-4077-B822-E8AC6663941E}"/>
          </ac:spMkLst>
        </pc:spChg>
      </pc:sldChg>
      <pc:sldChg chg="modSp add del modTransition">
        <pc:chgData name="Devid Treuling" userId="59319ebe-00e0-4bed-b2ef-326bd7e50483" providerId="ADAL" clId="{398C985C-4939-4904-9544-A192F358B56A}" dt="2020-05-20T16:04:46.399" v="237"/>
        <pc:sldMkLst>
          <pc:docMk/>
          <pc:sldMk cId="3909586908" sldId="270"/>
        </pc:sldMkLst>
        <pc:spChg chg="mod">
          <ac:chgData name="Devid Treuling" userId="59319ebe-00e0-4bed-b2ef-326bd7e50483" providerId="ADAL" clId="{398C985C-4939-4904-9544-A192F358B56A}" dt="2020-05-20T16:04:46.399" v="237"/>
          <ac:spMkLst>
            <pc:docMk/>
            <pc:sldMk cId="3909586908" sldId="270"/>
            <ac:spMk id="2" creationId="{85102FE9-E88C-4DA9-8EBD-3E4CB6203965}"/>
          </ac:spMkLst>
        </pc:spChg>
        <pc:spChg chg="mod">
          <ac:chgData name="Devid Treuling" userId="59319ebe-00e0-4bed-b2ef-326bd7e50483" providerId="ADAL" clId="{398C985C-4939-4904-9544-A192F358B56A}" dt="2020-05-20T16:04:46.399" v="237"/>
          <ac:spMkLst>
            <pc:docMk/>
            <pc:sldMk cId="3909586908" sldId="270"/>
            <ac:spMk id="3" creationId="{5C1E9712-EF32-4D11-942F-4A9E57123474}"/>
          </ac:spMkLst>
        </pc:spChg>
      </pc:sldChg>
      <pc:sldChg chg="add del">
        <pc:chgData name="Devid Treuling" userId="59319ebe-00e0-4bed-b2ef-326bd7e50483" providerId="ADAL" clId="{398C985C-4939-4904-9544-A192F358B56A}" dt="2020-05-20T16:08:52.559" v="436" actId="2696"/>
        <pc:sldMkLst>
          <pc:docMk/>
          <pc:sldMk cId="36924870" sldId="271"/>
        </pc:sldMkLst>
      </pc:sldChg>
      <pc:sldChg chg="add del">
        <pc:chgData name="Devid Treuling" userId="59319ebe-00e0-4bed-b2ef-326bd7e50483" providerId="ADAL" clId="{398C985C-4939-4904-9544-A192F358B56A}" dt="2020-05-20T16:13:00.898" v="606" actId="2696"/>
        <pc:sldMkLst>
          <pc:docMk/>
          <pc:sldMk cId="51638523" sldId="271"/>
        </pc:sldMkLst>
      </pc:sldChg>
      <pc:sldChg chg="add del">
        <pc:chgData name="Devid Treuling" userId="59319ebe-00e0-4bed-b2ef-326bd7e50483" providerId="ADAL" clId="{398C985C-4939-4904-9544-A192F358B56A}" dt="2020-05-20T16:08:52.516" v="426" actId="2696"/>
        <pc:sldMkLst>
          <pc:docMk/>
          <pc:sldMk cId="85159755" sldId="271"/>
        </pc:sldMkLst>
      </pc:sldChg>
      <pc:sldChg chg="add del">
        <pc:chgData name="Devid Treuling" userId="59319ebe-00e0-4bed-b2ef-326bd7e50483" providerId="ADAL" clId="{398C985C-4939-4904-9544-A192F358B56A}" dt="2020-05-20T16:08:52.591" v="444" actId="2696"/>
        <pc:sldMkLst>
          <pc:docMk/>
          <pc:sldMk cId="92762928" sldId="271"/>
        </pc:sldMkLst>
      </pc:sldChg>
      <pc:sldChg chg="add del">
        <pc:chgData name="Devid Treuling" userId="59319ebe-00e0-4bed-b2ef-326bd7e50483" providerId="ADAL" clId="{398C985C-4939-4904-9544-A192F358B56A}" dt="2020-05-20T16:08:52.610" v="448" actId="2696"/>
        <pc:sldMkLst>
          <pc:docMk/>
          <pc:sldMk cId="113612559" sldId="271"/>
        </pc:sldMkLst>
      </pc:sldChg>
      <pc:sldChg chg="add del">
        <pc:chgData name="Devid Treuling" userId="59319ebe-00e0-4bed-b2ef-326bd7e50483" providerId="ADAL" clId="{398C985C-4939-4904-9544-A192F358B56A}" dt="2020-05-20T16:13:00.865" v="602" actId="2696"/>
        <pc:sldMkLst>
          <pc:docMk/>
          <pc:sldMk cId="114021026" sldId="271"/>
        </pc:sldMkLst>
      </pc:sldChg>
      <pc:sldChg chg="add del">
        <pc:chgData name="Devid Treuling" userId="59319ebe-00e0-4bed-b2ef-326bd7e50483" providerId="ADAL" clId="{398C985C-4939-4904-9544-A192F358B56A}" dt="2020-05-20T16:08:52.682" v="464" actId="2696"/>
        <pc:sldMkLst>
          <pc:docMk/>
          <pc:sldMk cId="128138076" sldId="271"/>
        </pc:sldMkLst>
      </pc:sldChg>
      <pc:sldChg chg="add del">
        <pc:chgData name="Devid Treuling" userId="59319ebe-00e0-4bed-b2ef-326bd7e50483" providerId="ADAL" clId="{398C985C-4939-4904-9544-A192F358B56A}" dt="2020-05-20T16:13:00.881" v="604" actId="2696"/>
        <pc:sldMkLst>
          <pc:docMk/>
          <pc:sldMk cId="139511120" sldId="271"/>
        </pc:sldMkLst>
      </pc:sldChg>
      <pc:sldChg chg="add del">
        <pc:chgData name="Devid Treuling" userId="59319ebe-00e0-4bed-b2ef-326bd7e50483" providerId="ADAL" clId="{398C985C-4939-4904-9544-A192F358B56A}" dt="2020-05-20T16:05:25.346" v="290" actId="2696"/>
        <pc:sldMkLst>
          <pc:docMk/>
          <pc:sldMk cId="173472931" sldId="271"/>
        </pc:sldMkLst>
      </pc:sldChg>
      <pc:sldChg chg="add del">
        <pc:chgData name="Devid Treuling" userId="59319ebe-00e0-4bed-b2ef-326bd7e50483" providerId="ADAL" clId="{398C985C-4939-4904-9544-A192F358B56A}" dt="2020-05-20T16:13:01.376" v="680" actId="2696"/>
        <pc:sldMkLst>
          <pc:docMk/>
          <pc:sldMk cId="196676974" sldId="271"/>
        </pc:sldMkLst>
      </pc:sldChg>
      <pc:sldChg chg="add del">
        <pc:chgData name="Devid Treuling" userId="59319ebe-00e0-4bed-b2ef-326bd7e50483" providerId="ADAL" clId="{398C985C-4939-4904-9544-A192F358B56A}" dt="2020-05-20T16:13:00.963" v="616" actId="2696"/>
        <pc:sldMkLst>
          <pc:docMk/>
          <pc:sldMk cId="200661770" sldId="271"/>
        </pc:sldMkLst>
      </pc:sldChg>
      <pc:sldChg chg="add del">
        <pc:chgData name="Devid Treuling" userId="59319ebe-00e0-4bed-b2ef-326bd7e50483" providerId="ADAL" clId="{398C985C-4939-4904-9544-A192F358B56A}" dt="2020-05-20T16:13:01.247" v="660" actId="2696"/>
        <pc:sldMkLst>
          <pc:docMk/>
          <pc:sldMk cId="202848886" sldId="271"/>
        </pc:sldMkLst>
      </pc:sldChg>
      <pc:sldChg chg="add del">
        <pc:chgData name="Devid Treuling" userId="59319ebe-00e0-4bed-b2ef-326bd7e50483" providerId="ADAL" clId="{398C985C-4939-4904-9544-A192F358B56A}" dt="2020-05-20T16:13:01.010" v="624" actId="2696"/>
        <pc:sldMkLst>
          <pc:docMk/>
          <pc:sldMk cId="216730633" sldId="271"/>
        </pc:sldMkLst>
      </pc:sldChg>
      <pc:sldChg chg="add del">
        <pc:chgData name="Devid Treuling" userId="59319ebe-00e0-4bed-b2ef-326bd7e50483" providerId="ADAL" clId="{398C985C-4939-4904-9544-A192F358B56A}" dt="2020-05-20T16:04:46.399" v="237"/>
        <pc:sldMkLst>
          <pc:docMk/>
          <pc:sldMk cId="266340866" sldId="271"/>
        </pc:sldMkLst>
      </pc:sldChg>
      <pc:sldChg chg="add del">
        <pc:chgData name="Devid Treuling" userId="59319ebe-00e0-4bed-b2ef-326bd7e50483" providerId="ADAL" clId="{398C985C-4939-4904-9544-A192F358B56A}" dt="2020-05-20T16:04:46.399" v="237"/>
        <pc:sldMkLst>
          <pc:docMk/>
          <pc:sldMk cId="267317235" sldId="271"/>
        </pc:sldMkLst>
      </pc:sldChg>
      <pc:sldChg chg="add del">
        <pc:chgData name="Devid Treuling" userId="59319ebe-00e0-4bed-b2ef-326bd7e50483" providerId="ADAL" clId="{398C985C-4939-4904-9544-A192F358B56A}" dt="2020-05-20T16:05:25.279" v="272" actId="2696"/>
        <pc:sldMkLst>
          <pc:docMk/>
          <pc:sldMk cId="287192860" sldId="271"/>
        </pc:sldMkLst>
      </pc:sldChg>
      <pc:sldChg chg="add del">
        <pc:chgData name="Devid Treuling" userId="59319ebe-00e0-4bed-b2ef-326bd7e50483" providerId="ADAL" clId="{398C985C-4939-4904-9544-A192F358B56A}" dt="2020-05-20T16:04:46.399" v="237"/>
        <pc:sldMkLst>
          <pc:docMk/>
          <pc:sldMk cId="329814291" sldId="271"/>
        </pc:sldMkLst>
      </pc:sldChg>
      <pc:sldChg chg="add del">
        <pc:chgData name="Devid Treuling" userId="59319ebe-00e0-4bed-b2ef-326bd7e50483" providerId="ADAL" clId="{398C985C-4939-4904-9544-A192F358B56A}" dt="2020-05-20T16:08:52.543" v="432" actId="2696"/>
        <pc:sldMkLst>
          <pc:docMk/>
          <pc:sldMk cId="354991226" sldId="271"/>
        </pc:sldMkLst>
      </pc:sldChg>
      <pc:sldChg chg="add del">
        <pc:chgData name="Devid Treuling" userId="59319ebe-00e0-4bed-b2ef-326bd7e50483" providerId="ADAL" clId="{398C985C-4939-4904-9544-A192F358B56A}" dt="2020-05-20T16:04:46.399" v="237"/>
        <pc:sldMkLst>
          <pc:docMk/>
          <pc:sldMk cId="358391883" sldId="271"/>
        </pc:sldMkLst>
      </pc:sldChg>
      <pc:sldChg chg="add del">
        <pc:chgData name="Devid Treuling" userId="59319ebe-00e0-4bed-b2ef-326bd7e50483" providerId="ADAL" clId="{398C985C-4939-4904-9544-A192F358B56A}" dt="2020-05-20T16:13:01.343" v="674" actId="2696"/>
        <pc:sldMkLst>
          <pc:docMk/>
          <pc:sldMk cId="365926347" sldId="271"/>
        </pc:sldMkLst>
      </pc:sldChg>
      <pc:sldChg chg="add del">
        <pc:chgData name="Devid Treuling" userId="59319ebe-00e0-4bed-b2ef-326bd7e50483" providerId="ADAL" clId="{398C985C-4939-4904-9544-A192F358B56A}" dt="2020-05-20T16:04:46.399" v="237"/>
        <pc:sldMkLst>
          <pc:docMk/>
          <pc:sldMk cId="406453099" sldId="271"/>
        </pc:sldMkLst>
      </pc:sldChg>
      <pc:sldChg chg="add del">
        <pc:chgData name="Devid Treuling" userId="59319ebe-00e0-4bed-b2ef-326bd7e50483" providerId="ADAL" clId="{398C985C-4939-4904-9544-A192F358B56A}" dt="2020-05-20T16:04:46.399" v="237"/>
        <pc:sldMkLst>
          <pc:docMk/>
          <pc:sldMk cId="495839391" sldId="271"/>
        </pc:sldMkLst>
      </pc:sldChg>
      <pc:sldChg chg="add del">
        <pc:chgData name="Devid Treuling" userId="59319ebe-00e0-4bed-b2ef-326bd7e50483" providerId="ADAL" clId="{398C985C-4939-4904-9544-A192F358B56A}" dt="2020-05-20T16:04:46.399" v="237"/>
        <pc:sldMkLst>
          <pc:docMk/>
          <pc:sldMk cId="509551319" sldId="271"/>
        </pc:sldMkLst>
      </pc:sldChg>
      <pc:sldChg chg="add del">
        <pc:chgData name="Devid Treuling" userId="59319ebe-00e0-4bed-b2ef-326bd7e50483" providerId="ADAL" clId="{398C985C-4939-4904-9544-A192F358B56A}" dt="2020-05-20T16:04:46.399" v="237"/>
        <pc:sldMkLst>
          <pc:docMk/>
          <pc:sldMk cId="515033839" sldId="271"/>
        </pc:sldMkLst>
      </pc:sldChg>
      <pc:sldChg chg="add del">
        <pc:chgData name="Devid Treuling" userId="59319ebe-00e0-4bed-b2ef-326bd7e50483" providerId="ADAL" clId="{398C985C-4939-4904-9544-A192F358B56A}" dt="2020-05-20T16:05:25.318" v="284" actId="2696"/>
        <pc:sldMkLst>
          <pc:docMk/>
          <pc:sldMk cId="573840639" sldId="271"/>
        </pc:sldMkLst>
      </pc:sldChg>
      <pc:sldChg chg="add del">
        <pc:chgData name="Devid Treuling" userId="59319ebe-00e0-4bed-b2ef-326bd7e50483" providerId="ADAL" clId="{398C985C-4939-4904-9544-A192F358B56A}" dt="2020-05-20T16:13:01.209" v="654" actId="2696"/>
        <pc:sldMkLst>
          <pc:docMk/>
          <pc:sldMk cId="610087979" sldId="271"/>
        </pc:sldMkLst>
      </pc:sldChg>
      <pc:sldChg chg="add del">
        <pc:chgData name="Devid Treuling" userId="59319ebe-00e0-4bed-b2ef-326bd7e50483" providerId="ADAL" clId="{398C985C-4939-4904-9544-A192F358B56A}" dt="2020-05-20T16:13:01.261" v="662" actId="2696"/>
        <pc:sldMkLst>
          <pc:docMk/>
          <pc:sldMk cId="672690545" sldId="271"/>
        </pc:sldMkLst>
      </pc:sldChg>
      <pc:sldChg chg="add del">
        <pc:chgData name="Devid Treuling" userId="59319ebe-00e0-4bed-b2ef-326bd7e50483" providerId="ADAL" clId="{398C985C-4939-4904-9544-A192F358B56A}" dt="2020-05-20T16:04:46.399" v="237"/>
        <pc:sldMkLst>
          <pc:docMk/>
          <pc:sldMk cId="673514535" sldId="271"/>
        </pc:sldMkLst>
      </pc:sldChg>
      <pc:sldChg chg="add del">
        <pc:chgData name="Devid Treuling" userId="59319ebe-00e0-4bed-b2ef-326bd7e50483" providerId="ADAL" clId="{398C985C-4939-4904-9544-A192F358B56A}" dt="2020-05-20T16:05:25.463" v="320" actId="2696"/>
        <pc:sldMkLst>
          <pc:docMk/>
          <pc:sldMk cId="695332406" sldId="271"/>
        </pc:sldMkLst>
      </pc:sldChg>
      <pc:sldChg chg="add del">
        <pc:chgData name="Devid Treuling" userId="59319ebe-00e0-4bed-b2ef-326bd7e50483" providerId="ADAL" clId="{398C985C-4939-4904-9544-A192F358B56A}" dt="2020-05-20T16:08:52.707" v="470" actId="2696"/>
        <pc:sldMkLst>
          <pc:docMk/>
          <pc:sldMk cId="701138289" sldId="271"/>
        </pc:sldMkLst>
      </pc:sldChg>
      <pc:sldChg chg="add del">
        <pc:chgData name="Devid Treuling" userId="59319ebe-00e0-4bed-b2ef-326bd7e50483" providerId="ADAL" clId="{398C985C-4939-4904-9544-A192F358B56A}" dt="2020-05-20T16:13:01.051" v="630" actId="2696"/>
        <pc:sldMkLst>
          <pc:docMk/>
          <pc:sldMk cId="723869927" sldId="271"/>
        </pc:sldMkLst>
      </pc:sldChg>
      <pc:sldChg chg="add del">
        <pc:chgData name="Devid Treuling" userId="59319ebe-00e0-4bed-b2ef-326bd7e50483" providerId="ADAL" clId="{398C985C-4939-4904-9544-A192F358B56A}" dt="2020-05-20T16:08:52.830" v="498" actId="2696"/>
        <pc:sldMkLst>
          <pc:docMk/>
          <pc:sldMk cId="725029371" sldId="271"/>
        </pc:sldMkLst>
      </pc:sldChg>
      <pc:sldChg chg="add del">
        <pc:chgData name="Devid Treuling" userId="59319ebe-00e0-4bed-b2ef-326bd7e50483" providerId="ADAL" clId="{398C985C-4939-4904-9544-A192F358B56A}" dt="2020-05-20T16:04:46.399" v="237"/>
        <pc:sldMkLst>
          <pc:docMk/>
          <pc:sldMk cId="733299046" sldId="271"/>
        </pc:sldMkLst>
      </pc:sldChg>
      <pc:sldChg chg="add del">
        <pc:chgData name="Devid Treuling" userId="59319ebe-00e0-4bed-b2ef-326bd7e50483" providerId="ADAL" clId="{398C985C-4939-4904-9544-A192F358B56A}" dt="2020-05-20T16:08:52.820" v="496" actId="2696"/>
        <pc:sldMkLst>
          <pc:docMk/>
          <pc:sldMk cId="782646269" sldId="271"/>
        </pc:sldMkLst>
      </pc:sldChg>
      <pc:sldChg chg="add del">
        <pc:chgData name="Devid Treuling" userId="59319ebe-00e0-4bed-b2ef-326bd7e50483" providerId="ADAL" clId="{398C985C-4939-4904-9544-A192F358B56A}" dt="2020-05-20T16:08:52.628" v="452" actId="2696"/>
        <pc:sldMkLst>
          <pc:docMk/>
          <pc:sldMk cId="794950587" sldId="271"/>
        </pc:sldMkLst>
      </pc:sldChg>
      <pc:sldChg chg="add del">
        <pc:chgData name="Devid Treuling" userId="59319ebe-00e0-4bed-b2ef-326bd7e50483" providerId="ADAL" clId="{398C985C-4939-4904-9544-A192F358B56A}" dt="2020-05-20T16:13:01.114" v="638" actId="2696"/>
        <pc:sldMkLst>
          <pc:docMk/>
          <pc:sldMk cId="917501674" sldId="271"/>
        </pc:sldMkLst>
      </pc:sldChg>
      <pc:sldChg chg="add del">
        <pc:chgData name="Devid Treuling" userId="59319ebe-00e0-4bed-b2ef-326bd7e50483" providerId="ADAL" clId="{398C985C-4939-4904-9544-A192F358B56A}" dt="2020-05-20T16:04:46.399" v="237"/>
        <pc:sldMkLst>
          <pc:docMk/>
          <pc:sldMk cId="936670317" sldId="271"/>
        </pc:sldMkLst>
      </pc:sldChg>
      <pc:sldChg chg="add del">
        <pc:chgData name="Devid Treuling" userId="59319ebe-00e0-4bed-b2ef-326bd7e50483" providerId="ADAL" clId="{398C985C-4939-4904-9544-A192F358B56A}" dt="2020-05-20T16:13:01.443" v="688" actId="2696"/>
        <pc:sldMkLst>
          <pc:docMk/>
          <pc:sldMk cId="944043278" sldId="271"/>
        </pc:sldMkLst>
      </pc:sldChg>
      <pc:sldChg chg="add del">
        <pc:chgData name="Devid Treuling" userId="59319ebe-00e0-4bed-b2ef-326bd7e50483" providerId="ADAL" clId="{398C985C-4939-4904-9544-A192F358B56A}" dt="2020-05-20T16:05:25.385" v="300" actId="2696"/>
        <pc:sldMkLst>
          <pc:docMk/>
          <pc:sldMk cId="966258844" sldId="271"/>
        </pc:sldMkLst>
      </pc:sldChg>
      <pc:sldChg chg="add del">
        <pc:chgData name="Devid Treuling" userId="59319ebe-00e0-4bed-b2ef-326bd7e50483" providerId="ADAL" clId="{398C985C-4939-4904-9544-A192F358B56A}" dt="2020-05-20T16:05:25.418" v="308" actId="2696"/>
        <pc:sldMkLst>
          <pc:docMk/>
          <pc:sldMk cId="997697209" sldId="271"/>
        </pc:sldMkLst>
      </pc:sldChg>
      <pc:sldChg chg="add del">
        <pc:chgData name="Devid Treuling" userId="59319ebe-00e0-4bed-b2ef-326bd7e50483" providerId="ADAL" clId="{398C985C-4939-4904-9544-A192F358B56A}" dt="2020-05-20T16:05:25.259" v="266" actId="2696"/>
        <pc:sldMkLst>
          <pc:docMk/>
          <pc:sldMk cId="1015620131" sldId="271"/>
        </pc:sldMkLst>
      </pc:sldChg>
      <pc:sldChg chg="add del">
        <pc:chgData name="Devid Treuling" userId="59319ebe-00e0-4bed-b2ef-326bd7e50483" providerId="ADAL" clId="{398C985C-4939-4904-9544-A192F358B56A}" dt="2020-05-20T16:08:52.657" v="458" actId="2696"/>
        <pc:sldMkLst>
          <pc:docMk/>
          <pc:sldMk cId="1037600215" sldId="271"/>
        </pc:sldMkLst>
      </pc:sldChg>
      <pc:sldChg chg="add del">
        <pc:chgData name="Devid Treuling" userId="59319ebe-00e0-4bed-b2ef-326bd7e50483" providerId="ADAL" clId="{398C985C-4939-4904-9544-A192F358B56A}" dt="2020-05-20T16:05:25.354" v="292" actId="2696"/>
        <pc:sldMkLst>
          <pc:docMk/>
          <pc:sldMk cId="1038066339" sldId="271"/>
        </pc:sldMkLst>
      </pc:sldChg>
      <pc:sldChg chg="add del">
        <pc:chgData name="Devid Treuling" userId="59319ebe-00e0-4bed-b2ef-326bd7e50483" providerId="ADAL" clId="{398C985C-4939-4904-9544-A192F358B56A}" dt="2020-05-20T16:04:46.399" v="237"/>
        <pc:sldMkLst>
          <pc:docMk/>
          <pc:sldMk cId="1093448140" sldId="271"/>
        </pc:sldMkLst>
      </pc:sldChg>
      <pc:sldChg chg="add del">
        <pc:chgData name="Devid Treuling" userId="59319ebe-00e0-4bed-b2ef-326bd7e50483" providerId="ADAL" clId="{398C985C-4939-4904-9544-A192F358B56A}" dt="2020-05-20T16:05:25.339" v="288" actId="2696"/>
        <pc:sldMkLst>
          <pc:docMk/>
          <pc:sldMk cId="1111256248" sldId="271"/>
        </pc:sldMkLst>
      </pc:sldChg>
      <pc:sldChg chg="add del">
        <pc:chgData name="Devid Treuling" userId="59319ebe-00e0-4bed-b2ef-326bd7e50483" providerId="ADAL" clId="{398C985C-4939-4904-9544-A192F358B56A}" dt="2020-05-20T16:05:25.248" v="262" actId="2696"/>
        <pc:sldMkLst>
          <pc:docMk/>
          <pc:sldMk cId="1121204164" sldId="271"/>
        </pc:sldMkLst>
      </pc:sldChg>
      <pc:sldChg chg="add del">
        <pc:chgData name="Devid Treuling" userId="59319ebe-00e0-4bed-b2ef-326bd7e50483" providerId="ADAL" clId="{398C985C-4939-4904-9544-A192F358B56A}" dt="2020-05-20T16:04:46.399" v="237"/>
        <pc:sldMkLst>
          <pc:docMk/>
          <pc:sldMk cId="1137313193" sldId="271"/>
        </pc:sldMkLst>
      </pc:sldChg>
      <pc:sldChg chg="add del">
        <pc:chgData name="Devid Treuling" userId="59319ebe-00e0-4bed-b2ef-326bd7e50483" providerId="ADAL" clId="{398C985C-4939-4904-9544-A192F358B56A}" dt="2020-05-20T16:04:46.399" v="237"/>
        <pc:sldMkLst>
          <pc:docMk/>
          <pc:sldMk cId="1145460840" sldId="271"/>
        </pc:sldMkLst>
      </pc:sldChg>
      <pc:sldChg chg="add del">
        <pc:chgData name="Devid Treuling" userId="59319ebe-00e0-4bed-b2ef-326bd7e50483" providerId="ADAL" clId="{398C985C-4939-4904-9544-A192F358B56A}" dt="2020-05-20T16:05:25.217" v="252" actId="2696"/>
        <pc:sldMkLst>
          <pc:docMk/>
          <pc:sldMk cId="1145535732" sldId="271"/>
        </pc:sldMkLst>
      </pc:sldChg>
      <pc:sldChg chg="add del">
        <pc:chgData name="Devid Treuling" userId="59319ebe-00e0-4bed-b2ef-326bd7e50483" providerId="ADAL" clId="{398C985C-4939-4904-9544-A192F358B56A}" dt="2020-05-20T16:04:46.399" v="237"/>
        <pc:sldMkLst>
          <pc:docMk/>
          <pc:sldMk cId="1158535527" sldId="271"/>
        </pc:sldMkLst>
      </pc:sldChg>
      <pc:sldChg chg="add del">
        <pc:chgData name="Devid Treuling" userId="59319ebe-00e0-4bed-b2ef-326bd7e50483" providerId="ADAL" clId="{398C985C-4939-4904-9544-A192F358B56A}" dt="2020-05-20T16:05:25.241" v="260" actId="2696"/>
        <pc:sldMkLst>
          <pc:docMk/>
          <pc:sldMk cId="1160752468" sldId="271"/>
        </pc:sldMkLst>
      </pc:sldChg>
      <pc:sldChg chg="add del">
        <pc:chgData name="Devid Treuling" userId="59319ebe-00e0-4bed-b2ef-326bd7e50483" providerId="ADAL" clId="{398C985C-4939-4904-9544-A192F358B56A}" dt="2020-05-20T16:05:25.235" v="258" actId="2696"/>
        <pc:sldMkLst>
          <pc:docMk/>
          <pc:sldMk cId="1223799680" sldId="271"/>
        </pc:sldMkLst>
      </pc:sldChg>
      <pc:sldChg chg="add del">
        <pc:chgData name="Devid Treuling" userId="59319ebe-00e0-4bed-b2ef-326bd7e50483" providerId="ADAL" clId="{398C985C-4939-4904-9544-A192F358B56A}" dt="2020-05-20T16:13:01.174" v="648" actId="2696"/>
        <pc:sldMkLst>
          <pc:docMk/>
          <pc:sldMk cId="1335682673" sldId="271"/>
        </pc:sldMkLst>
      </pc:sldChg>
      <pc:sldChg chg="add del">
        <pc:chgData name="Devid Treuling" userId="59319ebe-00e0-4bed-b2ef-326bd7e50483" providerId="ADAL" clId="{398C985C-4939-4904-9544-A192F358B56A}" dt="2020-05-20T16:13:01.036" v="628" actId="2696"/>
        <pc:sldMkLst>
          <pc:docMk/>
          <pc:sldMk cId="1395025649" sldId="271"/>
        </pc:sldMkLst>
      </pc:sldChg>
      <pc:sldChg chg="add del">
        <pc:chgData name="Devid Treuling" userId="59319ebe-00e0-4bed-b2ef-326bd7e50483" providerId="ADAL" clId="{398C985C-4939-4904-9544-A192F358B56A}" dt="2020-05-20T16:05:25.298" v="278" actId="2696"/>
        <pc:sldMkLst>
          <pc:docMk/>
          <pc:sldMk cId="1395600820" sldId="271"/>
        </pc:sldMkLst>
      </pc:sldChg>
      <pc:sldChg chg="add del">
        <pc:chgData name="Devid Treuling" userId="59319ebe-00e0-4bed-b2ef-326bd7e50483" providerId="ADAL" clId="{398C985C-4939-4904-9544-A192F358B56A}" dt="2020-05-20T16:08:52.600" v="446" actId="2696"/>
        <pc:sldMkLst>
          <pc:docMk/>
          <pc:sldMk cId="1438968381" sldId="271"/>
        </pc:sldMkLst>
      </pc:sldChg>
      <pc:sldChg chg="add del">
        <pc:chgData name="Devid Treuling" userId="59319ebe-00e0-4bed-b2ef-326bd7e50483" providerId="ADAL" clId="{398C985C-4939-4904-9544-A192F358B56A}" dt="2020-05-20T16:04:46.399" v="237"/>
        <pc:sldMkLst>
          <pc:docMk/>
          <pc:sldMk cId="1457766667" sldId="271"/>
        </pc:sldMkLst>
      </pc:sldChg>
      <pc:sldChg chg="add del">
        <pc:chgData name="Devid Treuling" userId="59319ebe-00e0-4bed-b2ef-326bd7e50483" providerId="ADAL" clId="{398C985C-4939-4904-9544-A192F358B56A}" dt="2020-05-20T16:08:52.787" v="488" actId="2696"/>
        <pc:sldMkLst>
          <pc:docMk/>
          <pc:sldMk cId="1463299695" sldId="271"/>
        </pc:sldMkLst>
      </pc:sldChg>
      <pc:sldChg chg="add del">
        <pc:chgData name="Devid Treuling" userId="59319ebe-00e0-4bed-b2ef-326bd7e50483" providerId="ADAL" clId="{398C985C-4939-4904-9544-A192F358B56A}" dt="2020-05-20T16:04:46.399" v="237"/>
        <pc:sldMkLst>
          <pc:docMk/>
          <pc:sldMk cId="1495312200" sldId="271"/>
        </pc:sldMkLst>
      </pc:sldChg>
      <pc:sldChg chg="add del">
        <pc:chgData name="Devid Treuling" userId="59319ebe-00e0-4bed-b2ef-326bd7e50483" providerId="ADAL" clId="{398C985C-4939-4904-9544-A192F358B56A}" dt="2020-05-20T16:13:01.385" v="682" actId="2696"/>
        <pc:sldMkLst>
          <pc:docMk/>
          <pc:sldMk cId="1500364237" sldId="271"/>
        </pc:sldMkLst>
      </pc:sldChg>
      <pc:sldChg chg="add del">
        <pc:chgData name="Devid Treuling" userId="59319ebe-00e0-4bed-b2ef-326bd7e50483" providerId="ADAL" clId="{398C985C-4939-4904-9544-A192F358B56A}" dt="2020-05-20T16:04:46.399" v="237"/>
        <pc:sldMkLst>
          <pc:docMk/>
          <pc:sldMk cId="1503837535" sldId="271"/>
        </pc:sldMkLst>
      </pc:sldChg>
      <pc:sldChg chg="add del">
        <pc:chgData name="Devid Treuling" userId="59319ebe-00e0-4bed-b2ef-326bd7e50483" providerId="ADAL" clId="{398C985C-4939-4904-9544-A192F358B56A}" dt="2020-05-20T16:08:52.724" v="474" actId="2696"/>
        <pc:sldMkLst>
          <pc:docMk/>
          <pc:sldMk cId="1504865335" sldId="271"/>
        </pc:sldMkLst>
      </pc:sldChg>
      <pc:sldChg chg="add del">
        <pc:chgData name="Devid Treuling" userId="59319ebe-00e0-4bed-b2ef-326bd7e50483" providerId="ADAL" clId="{398C985C-4939-4904-9544-A192F358B56A}" dt="2020-05-20T16:13:01.126" v="640" actId="2696"/>
        <pc:sldMkLst>
          <pc:docMk/>
          <pc:sldMk cId="1563055702" sldId="271"/>
        </pc:sldMkLst>
      </pc:sldChg>
      <pc:sldChg chg="add del">
        <pc:chgData name="Devid Treuling" userId="59319ebe-00e0-4bed-b2ef-326bd7e50483" providerId="ADAL" clId="{398C985C-4939-4904-9544-A192F358B56A}" dt="2020-05-20T16:13:01.022" v="626" actId="2696"/>
        <pc:sldMkLst>
          <pc:docMk/>
          <pc:sldMk cId="1569949796" sldId="271"/>
        </pc:sldMkLst>
      </pc:sldChg>
      <pc:sldChg chg="add del">
        <pc:chgData name="Devid Treuling" userId="59319ebe-00e0-4bed-b2ef-326bd7e50483" providerId="ADAL" clId="{398C985C-4939-4904-9544-A192F358B56A}" dt="2020-05-20T16:13:01.278" v="664" actId="2696"/>
        <pc:sldMkLst>
          <pc:docMk/>
          <pc:sldMk cId="1570116790" sldId="271"/>
        </pc:sldMkLst>
      </pc:sldChg>
      <pc:sldChg chg="add del">
        <pc:chgData name="Devid Treuling" userId="59319ebe-00e0-4bed-b2ef-326bd7e50483" providerId="ADAL" clId="{398C985C-4939-4904-9544-A192F358B56A}" dt="2020-05-20T16:13:01.433" v="686" actId="2696"/>
        <pc:sldMkLst>
          <pc:docMk/>
          <pc:sldMk cId="1583550797" sldId="271"/>
        </pc:sldMkLst>
      </pc:sldChg>
      <pc:sldChg chg="add del">
        <pc:chgData name="Devid Treuling" userId="59319ebe-00e0-4bed-b2ef-326bd7e50483" providerId="ADAL" clId="{398C985C-4939-4904-9544-A192F358B56A}" dt="2020-05-20T16:04:46.399" v="237"/>
        <pc:sldMkLst>
          <pc:docMk/>
          <pc:sldMk cId="1603416834" sldId="271"/>
        </pc:sldMkLst>
      </pc:sldChg>
      <pc:sldChg chg="add del">
        <pc:chgData name="Devid Treuling" userId="59319ebe-00e0-4bed-b2ef-326bd7e50483" providerId="ADAL" clId="{398C985C-4939-4904-9544-A192F358B56A}" dt="2020-05-20T16:08:52.574" v="440" actId="2696"/>
        <pc:sldMkLst>
          <pc:docMk/>
          <pc:sldMk cId="1604861710" sldId="271"/>
        </pc:sldMkLst>
      </pc:sldChg>
      <pc:sldChg chg="add del">
        <pc:chgData name="Devid Treuling" userId="59319ebe-00e0-4bed-b2ef-326bd7e50483" providerId="ADAL" clId="{398C985C-4939-4904-9544-A192F358B56A}" dt="2020-05-20T16:05:25.192" v="244" actId="2696"/>
        <pc:sldMkLst>
          <pc:docMk/>
          <pc:sldMk cId="1615732525" sldId="271"/>
        </pc:sldMkLst>
      </pc:sldChg>
      <pc:sldChg chg="add del">
        <pc:chgData name="Devid Treuling" userId="59319ebe-00e0-4bed-b2ef-326bd7e50483" providerId="ADAL" clId="{398C985C-4939-4904-9544-A192F358B56A}" dt="2020-05-20T16:13:00.913" v="608" actId="2696"/>
        <pc:sldMkLst>
          <pc:docMk/>
          <pc:sldMk cId="1712145510" sldId="271"/>
        </pc:sldMkLst>
      </pc:sldChg>
      <pc:sldChg chg="add del">
        <pc:chgData name="Devid Treuling" userId="59319ebe-00e0-4bed-b2ef-326bd7e50483" providerId="ADAL" clId="{398C985C-4939-4904-9544-A192F358B56A}" dt="2020-05-20T16:05:25.311" v="282" actId="2696"/>
        <pc:sldMkLst>
          <pc:docMk/>
          <pc:sldMk cId="1726951149" sldId="271"/>
        </pc:sldMkLst>
      </pc:sldChg>
      <pc:sldChg chg="add del">
        <pc:chgData name="Devid Treuling" userId="59319ebe-00e0-4bed-b2ef-326bd7e50483" providerId="ADAL" clId="{398C985C-4939-4904-9544-A192F358B56A}" dt="2020-05-20T16:04:46.399" v="237"/>
        <pc:sldMkLst>
          <pc:docMk/>
          <pc:sldMk cId="1730290030" sldId="271"/>
        </pc:sldMkLst>
      </pc:sldChg>
      <pc:sldChg chg="add del">
        <pc:chgData name="Devid Treuling" userId="59319ebe-00e0-4bed-b2ef-326bd7e50483" providerId="ADAL" clId="{398C985C-4939-4904-9544-A192F358B56A}" dt="2020-05-20T16:08:52.649" v="456" actId="2696"/>
        <pc:sldMkLst>
          <pc:docMk/>
          <pc:sldMk cId="1738537227" sldId="271"/>
        </pc:sldMkLst>
      </pc:sldChg>
      <pc:sldChg chg="add del">
        <pc:chgData name="Devid Treuling" userId="59319ebe-00e0-4bed-b2ef-326bd7e50483" providerId="ADAL" clId="{398C985C-4939-4904-9544-A192F358B56A}" dt="2020-05-20T16:08:52.846" v="502" actId="2696"/>
        <pc:sldMkLst>
          <pc:docMk/>
          <pc:sldMk cId="1769629403" sldId="271"/>
        </pc:sldMkLst>
      </pc:sldChg>
      <pc:sldChg chg="add del">
        <pc:chgData name="Devid Treuling" userId="59319ebe-00e0-4bed-b2ef-326bd7e50483" providerId="ADAL" clId="{398C985C-4939-4904-9544-A192F358B56A}" dt="2020-05-20T16:05:25.292" v="276" actId="2696"/>
        <pc:sldMkLst>
          <pc:docMk/>
          <pc:sldMk cId="1778647977" sldId="271"/>
        </pc:sldMkLst>
      </pc:sldChg>
      <pc:sldChg chg="add del">
        <pc:chgData name="Devid Treuling" userId="59319ebe-00e0-4bed-b2ef-326bd7e50483" providerId="ADAL" clId="{398C985C-4939-4904-9544-A192F358B56A}" dt="2020-05-20T16:05:25.230" v="256" actId="2696"/>
        <pc:sldMkLst>
          <pc:docMk/>
          <pc:sldMk cId="1782384048" sldId="271"/>
        </pc:sldMkLst>
      </pc:sldChg>
      <pc:sldChg chg="add del">
        <pc:chgData name="Devid Treuling" userId="59319ebe-00e0-4bed-b2ef-326bd7e50483" providerId="ADAL" clId="{398C985C-4939-4904-9544-A192F358B56A}" dt="2020-05-20T16:08:52.535" v="430" actId="2696"/>
        <pc:sldMkLst>
          <pc:docMk/>
          <pc:sldMk cId="1790179800" sldId="271"/>
        </pc:sldMkLst>
      </pc:sldChg>
      <pc:sldChg chg="add del">
        <pc:chgData name="Devid Treuling" userId="59319ebe-00e0-4bed-b2ef-326bd7e50483" providerId="ADAL" clId="{398C985C-4939-4904-9544-A192F358B56A}" dt="2020-05-20T16:05:25.427" v="310" actId="2696"/>
        <pc:sldMkLst>
          <pc:docMk/>
          <pc:sldMk cId="1814732165" sldId="271"/>
        </pc:sldMkLst>
      </pc:sldChg>
      <pc:sldChg chg="add del">
        <pc:chgData name="Devid Treuling" userId="59319ebe-00e0-4bed-b2ef-326bd7e50483" providerId="ADAL" clId="{398C985C-4939-4904-9544-A192F358B56A}" dt="2020-05-20T16:04:46.399" v="237"/>
        <pc:sldMkLst>
          <pc:docMk/>
          <pc:sldMk cId="1864237439" sldId="271"/>
        </pc:sldMkLst>
      </pc:sldChg>
      <pc:sldChg chg="add del">
        <pc:chgData name="Devid Treuling" userId="59319ebe-00e0-4bed-b2ef-326bd7e50483" providerId="ADAL" clId="{398C985C-4939-4904-9544-A192F358B56A}" dt="2020-05-20T16:05:25.212" v="250" actId="2696"/>
        <pc:sldMkLst>
          <pc:docMk/>
          <pc:sldMk cId="1881680827" sldId="271"/>
        </pc:sldMkLst>
      </pc:sldChg>
      <pc:sldChg chg="add del">
        <pc:chgData name="Devid Treuling" userId="59319ebe-00e0-4bed-b2ef-326bd7e50483" providerId="ADAL" clId="{398C985C-4939-4904-9544-A192F358B56A}" dt="2020-05-20T16:04:46.399" v="237"/>
        <pc:sldMkLst>
          <pc:docMk/>
          <pc:sldMk cId="1932871552" sldId="271"/>
        </pc:sldMkLst>
      </pc:sldChg>
      <pc:sldChg chg="add del">
        <pc:chgData name="Devid Treuling" userId="59319ebe-00e0-4bed-b2ef-326bd7e50483" providerId="ADAL" clId="{398C985C-4939-4904-9544-A192F358B56A}" dt="2020-05-20T16:04:46.399" v="237"/>
        <pc:sldMkLst>
          <pc:docMk/>
          <pc:sldMk cId="2025420531" sldId="271"/>
        </pc:sldMkLst>
      </pc:sldChg>
      <pc:sldChg chg="add del">
        <pc:chgData name="Devid Treuling" userId="59319ebe-00e0-4bed-b2ef-326bd7e50483" providerId="ADAL" clId="{398C985C-4939-4904-9544-A192F358B56A}" dt="2020-05-20T16:04:46.399" v="237"/>
        <pc:sldMkLst>
          <pc:docMk/>
          <pc:sldMk cId="2030923944" sldId="271"/>
        </pc:sldMkLst>
      </pc:sldChg>
      <pc:sldChg chg="add del">
        <pc:chgData name="Devid Treuling" userId="59319ebe-00e0-4bed-b2ef-326bd7e50483" providerId="ADAL" clId="{398C985C-4939-4904-9544-A192F358B56A}" dt="2020-05-20T16:04:46.399" v="237"/>
        <pc:sldMkLst>
          <pc:docMk/>
          <pc:sldMk cId="2037232021" sldId="271"/>
        </pc:sldMkLst>
      </pc:sldChg>
      <pc:sldChg chg="add del">
        <pc:chgData name="Devid Treuling" userId="59319ebe-00e0-4bed-b2ef-326bd7e50483" providerId="ADAL" clId="{398C985C-4939-4904-9544-A192F358B56A}" dt="2020-05-20T16:05:25.198" v="246" actId="2696"/>
        <pc:sldMkLst>
          <pc:docMk/>
          <pc:sldMk cId="2070561891" sldId="271"/>
        </pc:sldMkLst>
      </pc:sldChg>
      <pc:sldChg chg="add del">
        <pc:chgData name="Devid Treuling" userId="59319ebe-00e0-4bed-b2ef-326bd7e50483" providerId="ADAL" clId="{398C985C-4939-4904-9544-A192F358B56A}" dt="2020-05-20T16:05:25.434" v="312" actId="2696"/>
        <pc:sldMkLst>
          <pc:docMk/>
          <pc:sldMk cId="2079631904" sldId="271"/>
        </pc:sldMkLst>
      </pc:sldChg>
      <pc:sldChg chg="add del">
        <pc:chgData name="Devid Treuling" userId="59319ebe-00e0-4bed-b2ef-326bd7e50483" providerId="ADAL" clId="{398C985C-4939-4904-9544-A192F358B56A}" dt="2020-05-20T16:08:52.771" v="484" actId="2696"/>
        <pc:sldMkLst>
          <pc:docMk/>
          <pc:sldMk cId="2082663959" sldId="271"/>
        </pc:sldMkLst>
      </pc:sldChg>
      <pc:sldChg chg="add del">
        <pc:chgData name="Devid Treuling" userId="59319ebe-00e0-4bed-b2ef-326bd7e50483" providerId="ADAL" clId="{398C985C-4939-4904-9544-A192F358B56A}" dt="2020-05-20T16:13:01.139" v="642" actId="2696"/>
        <pc:sldMkLst>
          <pc:docMk/>
          <pc:sldMk cId="2112051054" sldId="271"/>
        </pc:sldMkLst>
      </pc:sldChg>
      <pc:sldChg chg="add del">
        <pc:chgData name="Devid Treuling" userId="59319ebe-00e0-4bed-b2ef-326bd7e50483" providerId="ADAL" clId="{398C985C-4939-4904-9544-A192F358B56A}" dt="2020-05-20T16:08:52.583" v="442" actId="2696"/>
        <pc:sldMkLst>
          <pc:docMk/>
          <pc:sldMk cId="2140907250" sldId="271"/>
        </pc:sldMkLst>
      </pc:sldChg>
      <pc:sldChg chg="add del">
        <pc:chgData name="Devid Treuling" userId="59319ebe-00e0-4bed-b2ef-326bd7e50483" providerId="ADAL" clId="{398C985C-4939-4904-9544-A192F358B56A}" dt="2020-05-20T16:05:25.223" v="254" actId="2696"/>
        <pc:sldMkLst>
          <pc:docMk/>
          <pc:sldMk cId="2145436157" sldId="271"/>
        </pc:sldMkLst>
      </pc:sldChg>
      <pc:sldChg chg="add del">
        <pc:chgData name="Devid Treuling" userId="59319ebe-00e0-4bed-b2ef-326bd7e50483" providerId="ADAL" clId="{398C985C-4939-4904-9544-A192F358B56A}" dt="2020-05-20T16:05:25.186" v="242" actId="2696"/>
        <pc:sldMkLst>
          <pc:docMk/>
          <pc:sldMk cId="2210839292" sldId="271"/>
        </pc:sldMkLst>
      </pc:sldChg>
      <pc:sldChg chg="add del">
        <pc:chgData name="Devid Treuling" userId="59319ebe-00e0-4bed-b2ef-326bd7e50483" providerId="ADAL" clId="{398C985C-4939-4904-9544-A192F358B56A}" dt="2020-05-20T16:08:52.804" v="492" actId="2696"/>
        <pc:sldMkLst>
          <pc:docMk/>
          <pc:sldMk cId="2272272014" sldId="271"/>
        </pc:sldMkLst>
      </pc:sldChg>
      <pc:sldChg chg="add del">
        <pc:chgData name="Devid Treuling" userId="59319ebe-00e0-4bed-b2ef-326bd7e50483" providerId="ADAL" clId="{398C985C-4939-4904-9544-A192F358B56A}" dt="2020-05-20T16:13:00.927" v="610" actId="2696"/>
        <pc:sldMkLst>
          <pc:docMk/>
          <pc:sldMk cId="2285980336" sldId="271"/>
        </pc:sldMkLst>
      </pc:sldChg>
      <pc:sldChg chg="add del">
        <pc:chgData name="Devid Treuling" userId="59319ebe-00e0-4bed-b2ef-326bd7e50483" providerId="ADAL" clId="{398C985C-4939-4904-9544-A192F358B56A}" dt="2020-05-20T16:08:52.878" v="506" actId="2696"/>
        <pc:sldMkLst>
          <pc:docMk/>
          <pc:sldMk cId="2299279724" sldId="271"/>
        </pc:sldMkLst>
      </pc:sldChg>
      <pc:sldChg chg="add del">
        <pc:chgData name="Devid Treuling" userId="59319ebe-00e0-4bed-b2ef-326bd7e50483" providerId="ADAL" clId="{398C985C-4939-4904-9544-A192F358B56A}" dt="2020-05-20T16:08:52.869" v="504" actId="2696"/>
        <pc:sldMkLst>
          <pc:docMk/>
          <pc:sldMk cId="2322337479" sldId="271"/>
        </pc:sldMkLst>
      </pc:sldChg>
      <pc:sldChg chg="add del">
        <pc:chgData name="Devid Treuling" userId="59319ebe-00e0-4bed-b2ef-326bd7e50483" providerId="ADAL" clId="{398C985C-4939-4904-9544-A192F358B56A}" dt="2020-05-20T16:13:01.420" v="684" actId="2696"/>
        <pc:sldMkLst>
          <pc:docMk/>
          <pc:sldMk cId="2324328577" sldId="271"/>
        </pc:sldMkLst>
      </pc:sldChg>
      <pc:sldChg chg="add del">
        <pc:chgData name="Devid Treuling" userId="59319ebe-00e0-4bed-b2ef-326bd7e50483" providerId="ADAL" clId="{398C985C-4939-4904-9544-A192F358B56A}" dt="2020-05-20T16:05:25.457" v="318" actId="2696"/>
        <pc:sldMkLst>
          <pc:docMk/>
          <pc:sldMk cId="2410427694" sldId="271"/>
        </pc:sldMkLst>
      </pc:sldChg>
      <pc:sldChg chg="add del">
        <pc:chgData name="Devid Treuling" userId="59319ebe-00e0-4bed-b2ef-326bd7e50483" providerId="ADAL" clId="{398C985C-4939-4904-9544-A192F358B56A}" dt="2020-05-20T16:04:46.399" v="237"/>
        <pc:sldMkLst>
          <pc:docMk/>
          <pc:sldMk cId="2413444091" sldId="271"/>
        </pc:sldMkLst>
      </pc:sldChg>
      <pc:sldChg chg="add del">
        <pc:chgData name="Devid Treuling" userId="59319ebe-00e0-4bed-b2ef-326bd7e50483" providerId="ADAL" clId="{398C985C-4939-4904-9544-A192F358B56A}" dt="2020-05-20T16:13:00.938" v="612" actId="2696"/>
        <pc:sldMkLst>
          <pc:docMk/>
          <pc:sldMk cId="2423555278" sldId="271"/>
        </pc:sldMkLst>
      </pc:sldChg>
      <pc:sldChg chg="add del">
        <pc:chgData name="Devid Treuling" userId="59319ebe-00e0-4bed-b2ef-326bd7e50483" providerId="ADAL" clId="{398C985C-4939-4904-9544-A192F358B56A}" dt="2020-05-20T16:08:52.566" v="438" actId="2696"/>
        <pc:sldMkLst>
          <pc:docMk/>
          <pc:sldMk cId="2461512542" sldId="271"/>
        </pc:sldMkLst>
      </pc:sldChg>
      <pc:sldChg chg="add del">
        <pc:chgData name="Devid Treuling" userId="59319ebe-00e0-4bed-b2ef-326bd7e50483" providerId="ADAL" clId="{398C985C-4939-4904-9544-A192F358B56A}" dt="2020-05-20T16:08:52.733" v="476" actId="2696"/>
        <pc:sldMkLst>
          <pc:docMk/>
          <pc:sldMk cId="2473012113" sldId="271"/>
        </pc:sldMkLst>
      </pc:sldChg>
      <pc:sldChg chg="add del">
        <pc:chgData name="Devid Treuling" userId="59319ebe-00e0-4bed-b2ef-326bd7e50483" providerId="ADAL" clId="{398C985C-4939-4904-9544-A192F358B56A}" dt="2020-05-20T16:13:01.085" v="634" actId="2696"/>
        <pc:sldMkLst>
          <pc:docMk/>
          <pc:sldMk cId="2498035731" sldId="271"/>
        </pc:sldMkLst>
      </pc:sldChg>
      <pc:sldChg chg="add del">
        <pc:chgData name="Devid Treuling" userId="59319ebe-00e0-4bed-b2ef-326bd7e50483" providerId="ADAL" clId="{398C985C-4939-4904-9544-A192F358B56A}" dt="2020-05-20T16:05:25.489" v="324" actId="2696"/>
        <pc:sldMkLst>
          <pc:docMk/>
          <pc:sldMk cId="2537869755" sldId="271"/>
        </pc:sldMkLst>
      </pc:sldChg>
      <pc:sldChg chg="add del">
        <pc:chgData name="Devid Treuling" userId="59319ebe-00e0-4bed-b2ef-326bd7e50483" providerId="ADAL" clId="{398C985C-4939-4904-9544-A192F358B56A}" dt="2020-05-20T16:08:52.813" v="494" actId="2696"/>
        <pc:sldMkLst>
          <pc:docMk/>
          <pc:sldMk cId="2568060645" sldId="271"/>
        </pc:sldMkLst>
      </pc:sldChg>
      <pc:sldChg chg="add del">
        <pc:chgData name="Devid Treuling" userId="59319ebe-00e0-4bed-b2ef-326bd7e50483" providerId="ADAL" clId="{398C985C-4939-4904-9544-A192F358B56A}" dt="2020-05-20T16:08:52.508" v="424" actId="2696"/>
        <pc:sldMkLst>
          <pc:docMk/>
          <pc:sldMk cId="2593929225" sldId="271"/>
        </pc:sldMkLst>
      </pc:sldChg>
      <pc:sldChg chg="add del">
        <pc:chgData name="Devid Treuling" userId="59319ebe-00e0-4bed-b2ef-326bd7e50483" providerId="ADAL" clId="{398C985C-4939-4904-9544-A192F358B56A}" dt="2020-05-20T16:05:25.403" v="304" actId="2696"/>
        <pc:sldMkLst>
          <pc:docMk/>
          <pc:sldMk cId="2596949577" sldId="271"/>
        </pc:sldMkLst>
      </pc:sldChg>
      <pc:sldChg chg="add del">
        <pc:chgData name="Devid Treuling" userId="59319ebe-00e0-4bed-b2ef-326bd7e50483" providerId="ADAL" clId="{398C985C-4939-4904-9544-A192F358B56A}" dt="2020-05-20T16:04:46.399" v="237"/>
        <pc:sldMkLst>
          <pc:docMk/>
          <pc:sldMk cId="2635994018" sldId="271"/>
        </pc:sldMkLst>
      </pc:sldChg>
      <pc:sldChg chg="add del">
        <pc:chgData name="Devid Treuling" userId="59319ebe-00e0-4bed-b2ef-326bd7e50483" providerId="ADAL" clId="{398C985C-4939-4904-9544-A192F358B56A}" dt="2020-05-20T16:05:25.204" v="248" actId="2696"/>
        <pc:sldMkLst>
          <pc:docMk/>
          <pc:sldMk cId="2804341784" sldId="271"/>
        </pc:sldMkLst>
      </pc:sldChg>
      <pc:sldChg chg="add del">
        <pc:chgData name="Devid Treuling" userId="59319ebe-00e0-4bed-b2ef-326bd7e50483" providerId="ADAL" clId="{398C985C-4939-4904-9544-A192F358B56A}" dt="2020-05-20T16:13:01.233" v="658" actId="2696"/>
        <pc:sldMkLst>
          <pc:docMk/>
          <pc:sldMk cId="2806329267" sldId="271"/>
        </pc:sldMkLst>
      </pc:sldChg>
      <pc:sldChg chg="add del">
        <pc:chgData name="Devid Treuling" userId="59319ebe-00e0-4bed-b2ef-326bd7e50483" providerId="ADAL" clId="{398C985C-4939-4904-9544-A192F358B56A}" dt="2020-05-20T16:04:46.399" v="237"/>
        <pc:sldMkLst>
          <pc:docMk/>
          <pc:sldMk cId="2896514504" sldId="271"/>
        </pc:sldMkLst>
      </pc:sldChg>
      <pc:sldChg chg="add del">
        <pc:chgData name="Devid Treuling" userId="59319ebe-00e0-4bed-b2ef-326bd7e50483" providerId="ADAL" clId="{398C985C-4939-4904-9544-A192F358B56A}" dt="2020-05-20T16:13:01.289" v="666" actId="2696"/>
        <pc:sldMkLst>
          <pc:docMk/>
          <pc:sldMk cId="2917434561" sldId="271"/>
        </pc:sldMkLst>
      </pc:sldChg>
      <pc:sldChg chg="add del">
        <pc:chgData name="Devid Treuling" userId="59319ebe-00e0-4bed-b2ef-326bd7e50483" providerId="ADAL" clId="{398C985C-4939-4904-9544-A192F358B56A}" dt="2020-05-20T16:08:52.666" v="460" actId="2696"/>
        <pc:sldMkLst>
          <pc:docMk/>
          <pc:sldMk cId="2935736801" sldId="271"/>
        </pc:sldMkLst>
      </pc:sldChg>
      <pc:sldChg chg="add del">
        <pc:chgData name="Devid Treuling" userId="59319ebe-00e0-4bed-b2ef-326bd7e50483" providerId="ADAL" clId="{398C985C-4939-4904-9544-A192F358B56A}" dt="2020-05-20T16:13:01.185" v="650" actId="2696"/>
        <pc:sldMkLst>
          <pc:docMk/>
          <pc:sldMk cId="2943515219" sldId="271"/>
        </pc:sldMkLst>
      </pc:sldChg>
      <pc:sldChg chg="add del">
        <pc:chgData name="Devid Treuling" userId="59319ebe-00e0-4bed-b2ef-326bd7e50483" providerId="ADAL" clId="{398C985C-4939-4904-9544-A192F358B56A}" dt="2020-05-20T16:05:25.306" v="280" actId="2696"/>
        <pc:sldMkLst>
          <pc:docMk/>
          <pc:sldMk cId="2961772710" sldId="271"/>
        </pc:sldMkLst>
      </pc:sldChg>
      <pc:sldChg chg="add del">
        <pc:chgData name="Devid Treuling" userId="59319ebe-00e0-4bed-b2ef-326bd7e50483" providerId="ADAL" clId="{398C985C-4939-4904-9544-A192F358B56A}" dt="2020-05-20T16:08:52.524" v="428" actId="2696"/>
        <pc:sldMkLst>
          <pc:docMk/>
          <pc:sldMk cId="2978626763" sldId="271"/>
        </pc:sldMkLst>
      </pc:sldChg>
      <pc:sldChg chg="add del">
        <pc:chgData name="Devid Treuling" userId="59319ebe-00e0-4bed-b2ef-326bd7e50483" providerId="ADAL" clId="{398C985C-4939-4904-9544-A192F358B56A}" dt="2020-05-20T16:13:01.150" v="644" actId="2696"/>
        <pc:sldMkLst>
          <pc:docMk/>
          <pc:sldMk cId="3005520389" sldId="271"/>
        </pc:sldMkLst>
      </pc:sldChg>
      <pc:sldChg chg="add del">
        <pc:chgData name="Devid Treuling" userId="59319ebe-00e0-4bed-b2ef-326bd7e50483" providerId="ADAL" clId="{398C985C-4939-4904-9544-A192F358B56A}" dt="2020-05-20T16:04:46.399" v="237"/>
        <pc:sldMkLst>
          <pc:docMk/>
          <pc:sldMk cId="3009530665" sldId="271"/>
        </pc:sldMkLst>
      </pc:sldChg>
      <pc:sldChg chg="add del">
        <pc:chgData name="Devid Treuling" userId="59319ebe-00e0-4bed-b2ef-326bd7e50483" providerId="ADAL" clId="{398C985C-4939-4904-9544-A192F358B56A}" dt="2020-05-20T16:13:01.066" v="632" actId="2696"/>
        <pc:sldMkLst>
          <pc:docMk/>
          <pc:sldMk cId="3010590887" sldId="271"/>
        </pc:sldMkLst>
      </pc:sldChg>
      <pc:sldChg chg="add del">
        <pc:chgData name="Devid Treuling" userId="59319ebe-00e0-4bed-b2ef-326bd7e50483" providerId="ADAL" clId="{398C985C-4939-4904-9544-A192F358B56A}" dt="2020-05-20T16:13:00.975" v="618" actId="2696"/>
        <pc:sldMkLst>
          <pc:docMk/>
          <pc:sldMk cId="3023999743" sldId="271"/>
        </pc:sldMkLst>
      </pc:sldChg>
      <pc:sldChg chg="add del">
        <pc:chgData name="Devid Treuling" userId="59319ebe-00e0-4bed-b2ef-326bd7e50483" providerId="ADAL" clId="{398C985C-4939-4904-9544-A192F358B56A}" dt="2020-05-20T16:04:46.399" v="237"/>
        <pc:sldMkLst>
          <pc:docMk/>
          <pc:sldMk cId="3066480832" sldId="271"/>
        </pc:sldMkLst>
      </pc:sldChg>
      <pc:sldChg chg="add del">
        <pc:chgData name="Devid Treuling" userId="59319ebe-00e0-4bed-b2ef-326bd7e50483" providerId="ADAL" clId="{398C985C-4939-4904-9544-A192F358B56A}" dt="2020-05-20T16:05:25.378" v="298" actId="2696"/>
        <pc:sldMkLst>
          <pc:docMk/>
          <pc:sldMk cId="3068718577" sldId="271"/>
        </pc:sldMkLst>
      </pc:sldChg>
      <pc:sldChg chg="add del">
        <pc:chgData name="Devid Treuling" userId="59319ebe-00e0-4bed-b2ef-326bd7e50483" providerId="ADAL" clId="{398C985C-4939-4904-9544-A192F358B56A}" dt="2020-05-20T16:05:25.368" v="296" actId="2696"/>
        <pc:sldMkLst>
          <pc:docMk/>
          <pc:sldMk cId="3115304970" sldId="271"/>
        </pc:sldMkLst>
      </pc:sldChg>
      <pc:sldChg chg="add del">
        <pc:chgData name="Devid Treuling" userId="59319ebe-00e0-4bed-b2ef-326bd7e50483" providerId="ADAL" clId="{398C985C-4939-4904-9544-A192F358B56A}" dt="2020-05-20T16:04:46.399" v="237"/>
        <pc:sldMkLst>
          <pc:docMk/>
          <pc:sldMk cId="3134568875" sldId="271"/>
        </pc:sldMkLst>
      </pc:sldChg>
      <pc:sldChg chg="add del">
        <pc:chgData name="Devid Treuling" userId="59319ebe-00e0-4bed-b2ef-326bd7e50483" providerId="ADAL" clId="{398C985C-4939-4904-9544-A192F358B56A}" dt="2020-05-20T16:08:52.885" v="508" actId="2696"/>
        <pc:sldMkLst>
          <pc:docMk/>
          <pc:sldMk cId="3151999884" sldId="271"/>
        </pc:sldMkLst>
      </pc:sldChg>
      <pc:sldChg chg="add del">
        <pc:chgData name="Devid Treuling" userId="59319ebe-00e0-4bed-b2ef-326bd7e50483" providerId="ADAL" clId="{398C985C-4939-4904-9544-A192F358B56A}" dt="2020-05-20T16:13:00.999" v="622" actId="2696"/>
        <pc:sldMkLst>
          <pc:docMk/>
          <pc:sldMk cId="3152498557" sldId="271"/>
        </pc:sldMkLst>
      </pc:sldChg>
      <pc:sldChg chg="add del">
        <pc:chgData name="Devid Treuling" userId="59319ebe-00e0-4bed-b2ef-326bd7e50483" providerId="ADAL" clId="{398C985C-4939-4904-9544-A192F358B56A}" dt="2020-05-20T16:08:52.674" v="462" actId="2696"/>
        <pc:sldMkLst>
          <pc:docMk/>
          <pc:sldMk cId="3155697806" sldId="271"/>
        </pc:sldMkLst>
      </pc:sldChg>
      <pc:sldChg chg="add del">
        <pc:chgData name="Devid Treuling" userId="59319ebe-00e0-4bed-b2ef-326bd7e50483" providerId="ADAL" clId="{398C985C-4939-4904-9544-A192F358B56A}" dt="2020-05-20T16:05:25.330" v="286" actId="2696"/>
        <pc:sldMkLst>
          <pc:docMk/>
          <pc:sldMk cId="3225417692" sldId="271"/>
        </pc:sldMkLst>
      </pc:sldChg>
      <pc:sldChg chg="add del">
        <pc:chgData name="Devid Treuling" userId="59319ebe-00e0-4bed-b2ef-326bd7e50483" providerId="ADAL" clId="{398C985C-4939-4904-9544-A192F358B56A}" dt="2020-05-20T16:08:52.499" v="422" actId="2696"/>
        <pc:sldMkLst>
          <pc:docMk/>
          <pc:sldMk cId="3234237962" sldId="271"/>
        </pc:sldMkLst>
      </pc:sldChg>
      <pc:sldChg chg="add del">
        <pc:chgData name="Devid Treuling" userId="59319ebe-00e0-4bed-b2ef-326bd7e50483" providerId="ADAL" clId="{398C985C-4939-4904-9544-A192F358B56A}" dt="2020-05-20T16:05:25.470" v="322" actId="2696"/>
        <pc:sldMkLst>
          <pc:docMk/>
          <pc:sldMk cId="3248091811" sldId="271"/>
        </pc:sldMkLst>
      </pc:sldChg>
      <pc:sldChg chg="add del">
        <pc:chgData name="Devid Treuling" userId="59319ebe-00e0-4bed-b2ef-326bd7e50483" providerId="ADAL" clId="{398C985C-4939-4904-9544-A192F358B56A}" dt="2020-05-20T16:04:46.399" v="237"/>
        <pc:sldMkLst>
          <pc:docMk/>
          <pc:sldMk cId="3255801789" sldId="271"/>
        </pc:sldMkLst>
      </pc:sldChg>
      <pc:sldChg chg="add del">
        <pc:chgData name="Devid Treuling" userId="59319ebe-00e0-4bed-b2ef-326bd7e50483" providerId="ADAL" clId="{398C985C-4939-4904-9544-A192F358B56A}" dt="2020-05-20T16:08:52.550" v="434" actId="2696"/>
        <pc:sldMkLst>
          <pc:docMk/>
          <pc:sldMk cId="3302367121" sldId="271"/>
        </pc:sldMkLst>
      </pc:sldChg>
      <pc:sldChg chg="add del">
        <pc:chgData name="Devid Treuling" userId="59319ebe-00e0-4bed-b2ef-326bd7e50483" providerId="ADAL" clId="{398C985C-4939-4904-9544-A192F358B56A}" dt="2020-05-20T16:04:46.399" v="237"/>
        <pc:sldMkLst>
          <pc:docMk/>
          <pc:sldMk cId="3308381796" sldId="271"/>
        </pc:sldMkLst>
      </pc:sldChg>
      <pc:sldChg chg="add del">
        <pc:chgData name="Devid Treuling" userId="59319ebe-00e0-4bed-b2ef-326bd7e50483" providerId="ADAL" clId="{398C985C-4939-4904-9544-A192F358B56A}" dt="2020-05-20T16:05:25.254" v="264" actId="2696"/>
        <pc:sldMkLst>
          <pc:docMk/>
          <pc:sldMk cId="3322032201" sldId="271"/>
        </pc:sldMkLst>
      </pc:sldChg>
      <pc:sldChg chg="add del">
        <pc:chgData name="Devid Treuling" userId="59319ebe-00e0-4bed-b2ef-326bd7e50483" providerId="ADAL" clId="{398C985C-4939-4904-9544-A192F358B56A}" dt="2020-05-20T16:04:46.399" v="237"/>
        <pc:sldMkLst>
          <pc:docMk/>
          <pc:sldMk cId="3339277636" sldId="271"/>
        </pc:sldMkLst>
      </pc:sldChg>
      <pc:sldChg chg="add del">
        <pc:chgData name="Devid Treuling" userId="59319ebe-00e0-4bed-b2ef-326bd7e50483" providerId="ADAL" clId="{398C985C-4939-4904-9544-A192F358B56A}" dt="2020-05-20T16:08:52.779" v="486" actId="2696"/>
        <pc:sldMkLst>
          <pc:docMk/>
          <pc:sldMk cId="3358489515" sldId="271"/>
        </pc:sldMkLst>
      </pc:sldChg>
      <pc:sldChg chg="add del">
        <pc:chgData name="Devid Treuling" userId="59319ebe-00e0-4bed-b2ef-326bd7e50483" providerId="ADAL" clId="{398C985C-4939-4904-9544-A192F358B56A}" dt="2020-05-20T16:08:52.743" v="478" actId="2696"/>
        <pc:sldMkLst>
          <pc:docMk/>
          <pc:sldMk cId="3471499296" sldId="271"/>
        </pc:sldMkLst>
      </pc:sldChg>
      <pc:sldChg chg="add del">
        <pc:chgData name="Devid Treuling" userId="59319ebe-00e0-4bed-b2ef-326bd7e50483" providerId="ADAL" clId="{398C985C-4939-4904-9544-A192F358B56A}" dt="2020-05-20T16:08:52.760" v="482" actId="2696"/>
        <pc:sldMkLst>
          <pc:docMk/>
          <pc:sldMk cId="3471889803" sldId="271"/>
        </pc:sldMkLst>
      </pc:sldChg>
      <pc:sldChg chg="add del">
        <pc:chgData name="Devid Treuling" userId="59319ebe-00e0-4bed-b2ef-326bd7e50483" providerId="ADAL" clId="{398C985C-4939-4904-9544-A192F358B56A}" dt="2020-05-20T16:13:01.316" v="670" actId="2696"/>
        <pc:sldMkLst>
          <pc:docMk/>
          <pc:sldMk cId="3478645113" sldId="271"/>
        </pc:sldMkLst>
      </pc:sldChg>
      <pc:sldChg chg="add del">
        <pc:chgData name="Devid Treuling" userId="59319ebe-00e0-4bed-b2ef-326bd7e50483" providerId="ADAL" clId="{398C985C-4939-4904-9544-A192F358B56A}" dt="2020-05-20T16:04:46.399" v="237"/>
        <pc:sldMkLst>
          <pc:docMk/>
          <pc:sldMk cId="3504034655" sldId="271"/>
        </pc:sldMkLst>
      </pc:sldChg>
      <pc:sldChg chg="add del">
        <pc:chgData name="Devid Treuling" userId="59319ebe-00e0-4bed-b2ef-326bd7e50483" providerId="ADAL" clId="{398C985C-4939-4904-9544-A192F358B56A}" dt="2020-05-20T16:13:01.301" v="668" actId="2696"/>
        <pc:sldMkLst>
          <pc:docMk/>
          <pc:sldMk cId="3515240560" sldId="271"/>
        </pc:sldMkLst>
      </pc:sldChg>
      <pc:sldChg chg="add del">
        <pc:chgData name="Devid Treuling" userId="59319ebe-00e0-4bed-b2ef-326bd7e50483" providerId="ADAL" clId="{398C985C-4939-4904-9544-A192F358B56A}" dt="2020-05-20T16:08:52.752" v="480" actId="2696"/>
        <pc:sldMkLst>
          <pc:docMk/>
          <pc:sldMk cId="3519742245" sldId="271"/>
        </pc:sldMkLst>
      </pc:sldChg>
      <pc:sldChg chg="add del">
        <pc:chgData name="Devid Treuling" userId="59319ebe-00e0-4bed-b2ef-326bd7e50483" providerId="ADAL" clId="{398C985C-4939-4904-9544-A192F358B56A}" dt="2020-05-20T16:05:25.273" v="270" actId="2696"/>
        <pc:sldMkLst>
          <pc:docMk/>
          <pc:sldMk cId="3526786170" sldId="271"/>
        </pc:sldMkLst>
      </pc:sldChg>
      <pc:sldChg chg="add del">
        <pc:chgData name="Devid Treuling" userId="59319ebe-00e0-4bed-b2ef-326bd7e50483" providerId="ADAL" clId="{398C985C-4939-4904-9544-A192F358B56A}" dt="2020-05-20T16:05:25.287" v="274" actId="2696"/>
        <pc:sldMkLst>
          <pc:docMk/>
          <pc:sldMk cId="3545029672" sldId="271"/>
        </pc:sldMkLst>
      </pc:sldChg>
      <pc:sldChg chg="add del">
        <pc:chgData name="Devid Treuling" userId="59319ebe-00e0-4bed-b2ef-326bd7e50483" providerId="ADAL" clId="{398C985C-4939-4904-9544-A192F358B56A}" dt="2020-05-20T16:04:46.399" v="237"/>
        <pc:sldMkLst>
          <pc:docMk/>
          <pc:sldMk cId="3558736246" sldId="271"/>
        </pc:sldMkLst>
      </pc:sldChg>
      <pc:sldChg chg="add del">
        <pc:chgData name="Devid Treuling" userId="59319ebe-00e0-4bed-b2ef-326bd7e50483" providerId="ADAL" clId="{398C985C-4939-4904-9544-A192F358B56A}" dt="2020-05-20T16:04:46.399" v="237"/>
        <pc:sldMkLst>
          <pc:docMk/>
          <pc:sldMk cId="3577409082" sldId="271"/>
        </pc:sldMkLst>
      </pc:sldChg>
      <pc:sldChg chg="add del">
        <pc:chgData name="Devid Treuling" userId="59319ebe-00e0-4bed-b2ef-326bd7e50483" providerId="ADAL" clId="{398C985C-4939-4904-9544-A192F358B56A}" dt="2020-05-20T16:05:25.449" v="316" actId="2696"/>
        <pc:sldMkLst>
          <pc:docMk/>
          <pc:sldMk cId="3617862044" sldId="271"/>
        </pc:sldMkLst>
      </pc:sldChg>
      <pc:sldChg chg="add del">
        <pc:chgData name="Devid Treuling" userId="59319ebe-00e0-4bed-b2ef-326bd7e50483" providerId="ADAL" clId="{398C985C-4939-4904-9544-A192F358B56A}" dt="2020-05-20T16:05:25.505" v="328" actId="2696"/>
        <pc:sldMkLst>
          <pc:docMk/>
          <pc:sldMk cId="3632801486" sldId="271"/>
        </pc:sldMkLst>
      </pc:sldChg>
      <pc:sldChg chg="add del">
        <pc:chgData name="Devid Treuling" userId="59319ebe-00e0-4bed-b2ef-326bd7e50483" providerId="ADAL" clId="{398C985C-4939-4904-9544-A192F358B56A}" dt="2020-05-20T16:05:25.361" v="294" actId="2696"/>
        <pc:sldMkLst>
          <pc:docMk/>
          <pc:sldMk cId="3633229947" sldId="271"/>
        </pc:sldMkLst>
      </pc:sldChg>
      <pc:sldChg chg="add del">
        <pc:chgData name="Devid Treuling" userId="59319ebe-00e0-4bed-b2ef-326bd7e50483" providerId="ADAL" clId="{398C985C-4939-4904-9544-A192F358B56A}" dt="2020-05-20T16:13:01.327" v="672" actId="2696"/>
        <pc:sldMkLst>
          <pc:docMk/>
          <pc:sldMk cId="3708133370" sldId="271"/>
        </pc:sldMkLst>
      </pc:sldChg>
      <pc:sldChg chg="add del">
        <pc:chgData name="Devid Treuling" userId="59319ebe-00e0-4bed-b2ef-326bd7e50483" providerId="ADAL" clId="{398C985C-4939-4904-9544-A192F358B56A}" dt="2020-05-20T16:05:25.393" v="302" actId="2696"/>
        <pc:sldMkLst>
          <pc:docMk/>
          <pc:sldMk cId="3713382052" sldId="271"/>
        </pc:sldMkLst>
      </pc:sldChg>
      <pc:sldChg chg="add del">
        <pc:chgData name="Devid Treuling" userId="59319ebe-00e0-4bed-b2ef-326bd7e50483" providerId="ADAL" clId="{398C985C-4939-4904-9544-A192F358B56A}" dt="2020-05-20T16:05:25.442" v="314" actId="2696"/>
        <pc:sldMkLst>
          <pc:docMk/>
          <pc:sldMk cId="3746515406" sldId="271"/>
        </pc:sldMkLst>
      </pc:sldChg>
      <pc:sldChg chg="add del">
        <pc:chgData name="Devid Treuling" userId="59319ebe-00e0-4bed-b2ef-326bd7e50483" providerId="ADAL" clId="{398C985C-4939-4904-9544-A192F358B56A}" dt="2020-05-20T16:13:01.220" v="656" actId="2696"/>
        <pc:sldMkLst>
          <pc:docMk/>
          <pc:sldMk cId="3803061972" sldId="271"/>
        </pc:sldMkLst>
      </pc:sldChg>
      <pc:sldChg chg="add del">
        <pc:chgData name="Devid Treuling" userId="59319ebe-00e0-4bed-b2ef-326bd7e50483" providerId="ADAL" clId="{398C985C-4939-4904-9544-A192F358B56A}" dt="2020-05-20T16:13:01.102" v="636" actId="2696"/>
        <pc:sldMkLst>
          <pc:docMk/>
          <pc:sldMk cId="3804608404" sldId="271"/>
        </pc:sldMkLst>
      </pc:sldChg>
      <pc:sldChg chg="add del">
        <pc:chgData name="Devid Treuling" userId="59319ebe-00e0-4bed-b2ef-326bd7e50483" providerId="ADAL" clId="{398C985C-4939-4904-9544-A192F358B56A}" dt="2020-05-20T16:04:46.399" v="237"/>
        <pc:sldMkLst>
          <pc:docMk/>
          <pc:sldMk cId="3820967589" sldId="271"/>
        </pc:sldMkLst>
      </pc:sldChg>
      <pc:sldChg chg="add del">
        <pc:chgData name="Devid Treuling" userId="59319ebe-00e0-4bed-b2ef-326bd7e50483" providerId="ADAL" clId="{398C985C-4939-4904-9544-A192F358B56A}" dt="2020-05-20T16:04:46.399" v="237"/>
        <pc:sldMkLst>
          <pc:docMk/>
          <pc:sldMk cId="3860819983" sldId="271"/>
        </pc:sldMkLst>
      </pc:sldChg>
      <pc:sldChg chg="add del">
        <pc:chgData name="Devid Treuling" userId="59319ebe-00e0-4bed-b2ef-326bd7e50483" providerId="ADAL" clId="{398C985C-4939-4904-9544-A192F358B56A}" dt="2020-05-20T16:04:46.399" v="237"/>
        <pc:sldMkLst>
          <pc:docMk/>
          <pc:sldMk cId="3861999348" sldId="271"/>
        </pc:sldMkLst>
      </pc:sldChg>
      <pc:sldChg chg="add del">
        <pc:chgData name="Devid Treuling" userId="59319ebe-00e0-4bed-b2ef-326bd7e50483" providerId="ADAL" clId="{398C985C-4939-4904-9544-A192F358B56A}" dt="2020-05-20T16:13:00.987" v="620" actId="2696"/>
        <pc:sldMkLst>
          <pc:docMk/>
          <pc:sldMk cId="3875115115" sldId="271"/>
        </pc:sldMkLst>
      </pc:sldChg>
      <pc:sldChg chg="add del">
        <pc:chgData name="Devid Treuling" userId="59319ebe-00e0-4bed-b2ef-326bd7e50483" providerId="ADAL" clId="{398C985C-4939-4904-9544-A192F358B56A}" dt="2020-05-20T16:13:01.353" v="676" actId="2696"/>
        <pc:sldMkLst>
          <pc:docMk/>
          <pc:sldMk cId="3889826737" sldId="271"/>
        </pc:sldMkLst>
      </pc:sldChg>
      <pc:sldChg chg="add del">
        <pc:chgData name="Devid Treuling" userId="59319ebe-00e0-4bed-b2ef-326bd7e50483" providerId="ADAL" clId="{398C985C-4939-4904-9544-A192F358B56A}" dt="2020-05-20T16:05:25.410" v="306" actId="2696"/>
        <pc:sldMkLst>
          <pc:docMk/>
          <pc:sldMk cId="3951038472" sldId="271"/>
        </pc:sldMkLst>
      </pc:sldChg>
      <pc:sldChg chg="add del">
        <pc:chgData name="Devid Treuling" userId="59319ebe-00e0-4bed-b2ef-326bd7e50483" providerId="ADAL" clId="{398C985C-4939-4904-9544-A192F358B56A}" dt="2020-05-20T16:04:46.399" v="237"/>
        <pc:sldMkLst>
          <pc:docMk/>
          <pc:sldMk cId="3962659254" sldId="271"/>
        </pc:sldMkLst>
      </pc:sldChg>
      <pc:sldChg chg="add del">
        <pc:chgData name="Devid Treuling" userId="59319ebe-00e0-4bed-b2ef-326bd7e50483" providerId="ADAL" clId="{398C985C-4939-4904-9544-A192F358B56A}" dt="2020-05-20T16:08:52.618" v="450" actId="2696"/>
        <pc:sldMkLst>
          <pc:docMk/>
          <pc:sldMk cId="3968900325" sldId="271"/>
        </pc:sldMkLst>
      </pc:sldChg>
      <pc:sldChg chg="add del">
        <pc:chgData name="Devid Treuling" userId="59319ebe-00e0-4bed-b2ef-326bd7e50483" providerId="ADAL" clId="{398C985C-4939-4904-9544-A192F358B56A}" dt="2020-05-20T16:08:52.716" v="472" actId="2696"/>
        <pc:sldMkLst>
          <pc:docMk/>
          <pc:sldMk cId="3990357291" sldId="271"/>
        </pc:sldMkLst>
      </pc:sldChg>
      <pc:sldChg chg="add del">
        <pc:chgData name="Devid Treuling" userId="59319ebe-00e0-4bed-b2ef-326bd7e50483" providerId="ADAL" clId="{398C985C-4939-4904-9544-A192F358B56A}" dt="2020-05-20T16:13:01.163" v="646" actId="2696"/>
        <pc:sldMkLst>
          <pc:docMk/>
          <pc:sldMk cId="4021555259" sldId="271"/>
        </pc:sldMkLst>
      </pc:sldChg>
      <pc:sldChg chg="add del">
        <pc:chgData name="Devid Treuling" userId="59319ebe-00e0-4bed-b2ef-326bd7e50483" providerId="ADAL" clId="{398C985C-4939-4904-9544-A192F358B56A}" dt="2020-05-20T16:13:01.199" v="652" actId="2696"/>
        <pc:sldMkLst>
          <pc:docMk/>
          <pc:sldMk cId="4027013660" sldId="271"/>
        </pc:sldMkLst>
      </pc:sldChg>
      <pc:sldChg chg="add del">
        <pc:chgData name="Devid Treuling" userId="59319ebe-00e0-4bed-b2ef-326bd7e50483" providerId="ADAL" clId="{398C985C-4939-4904-9544-A192F358B56A}" dt="2020-05-20T16:04:46.399" v="237"/>
        <pc:sldMkLst>
          <pc:docMk/>
          <pc:sldMk cId="4092232106" sldId="271"/>
        </pc:sldMkLst>
      </pc:sldChg>
      <pc:sldChg chg="add del">
        <pc:chgData name="Devid Treuling" userId="59319ebe-00e0-4bed-b2ef-326bd7e50483" providerId="ADAL" clId="{398C985C-4939-4904-9544-A192F358B56A}" dt="2020-05-20T16:05:25.267" v="268" actId="2696"/>
        <pc:sldMkLst>
          <pc:docMk/>
          <pc:sldMk cId="4102144873" sldId="271"/>
        </pc:sldMkLst>
      </pc:sldChg>
      <pc:sldChg chg="add del">
        <pc:chgData name="Devid Treuling" userId="59319ebe-00e0-4bed-b2ef-326bd7e50483" providerId="ADAL" clId="{398C985C-4939-4904-9544-A192F358B56A}" dt="2020-05-20T16:04:46.399" v="237"/>
        <pc:sldMkLst>
          <pc:docMk/>
          <pc:sldMk cId="4105628903" sldId="271"/>
        </pc:sldMkLst>
      </pc:sldChg>
      <pc:sldChg chg="add del">
        <pc:chgData name="Devid Treuling" userId="59319ebe-00e0-4bed-b2ef-326bd7e50483" providerId="ADAL" clId="{398C985C-4939-4904-9544-A192F358B56A}" dt="2020-05-20T16:08:52.691" v="466" actId="2696"/>
        <pc:sldMkLst>
          <pc:docMk/>
          <pc:sldMk cId="4154538183" sldId="271"/>
        </pc:sldMkLst>
      </pc:sldChg>
      <pc:sldChg chg="add del">
        <pc:chgData name="Devid Treuling" userId="59319ebe-00e0-4bed-b2ef-326bd7e50483" providerId="ADAL" clId="{398C985C-4939-4904-9544-A192F358B56A}" dt="2020-05-20T16:08:52.839" v="500" actId="2696"/>
        <pc:sldMkLst>
          <pc:docMk/>
          <pc:sldMk cId="4170583464" sldId="271"/>
        </pc:sldMkLst>
      </pc:sldChg>
      <pc:sldChg chg="add del">
        <pc:chgData name="Devid Treuling" userId="59319ebe-00e0-4bed-b2ef-326bd7e50483" providerId="ADAL" clId="{398C985C-4939-4904-9544-A192F358B56A}" dt="2020-05-20T16:13:00.949" v="614" actId="2696"/>
        <pc:sldMkLst>
          <pc:docMk/>
          <pc:sldMk cId="4180979615" sldId="271"/>
        </pc:sldMkLst>
      </pc:sldChg>
      <pc:sldChg chg="add del">
        <pc:chgData name="Devid Treuling" userId="59319ebe-00e0-4bed-b2ef-326bd7e50483" providerId="ADAL" clId="{398C985C-4939-4904-9544-A192F358B56A}" dt="2020-05-20T16:08:52.699" v="468" actId="2696"/>
        <pc:sldMkLst>
          <pc:docMk/>
          <pc:sldMk cId="4202439140" sldId="271"/>
        </pc:sldMkLst>
      </pc:sldChg>
      <pc:sldChg chg="add del">
        <pc:chgData name="Devid Treuling" userId="59319ebe-00e0-4bed-b2ef-326bd7e50483" providerId="ADAL" clId="{398C985C-4939-4904-9544-A192F358B56A}" dt="2020-05-20T16:08:52.796" v="490" actId="2696"/>
        <pc:sldMkLst>
          <pc:docMk/>
          <pc:sldMk cId="4208943033" sldId="271"/>
        </pc:sldMkLst>
      </pc:sldChg>
      <pc:sldChg chg="add del">
        <pc:chgData name="Devid Treuling" userId="59319ebe-00e0-4bed-b2ef-326bd7e50483" providerId="ADAL" clId="{398C985C-4939-4904-9544-A192F358B56A}" dt="2020-05-20T16:08:52.639" v="454" actId="2696"/>
        <pc:sldMkLst>
          <pc:docMk/>
          <pc:sldMk cId="4247461440" sldId="271"/>
        </pc:sldMkLst>
      </pc:sldChg>
      <pc:sldChg chg="add del">
        <pc:chgData name="Devid Treuling" userId="59319ebe-00e0-4bed-b2ef-326bd7e50483" providerId="ADAL" clId="{398C985C-4939-4904-9544-A192F358B56A}" dt="2020-05-20T16:05:25.497" v="326" actId="2696"/>
        <pc:sldMkLst>
          <pc:docMk/>
          <pc:sldMk cId="4262531944" sldId="271"/>
        </pc:sldMkLst>
      </pc:sldChg>
      <pc:sldChg chg="add del">
        <pc:chgData name="Devid Treuling" userId="59319ebe-00e0-4bed-b2ef-326bd7e50483" providerId="ADAL" clId="{398C985C-4939-4904-9544-A192F358B56A}" dt="2020-05-20T16:04:46.399" v="237"/>
        <pc:sldMkLst>
          <pc:docMk/>
          <pc:sldMk cId="4285258409" sldId="271"/>
        </pc:sldMkLst>
      </pc:sldChg>
      <pc:sldChg chg="add del">
        <pc:chgData name="Devid Treuling" userId="59319ebe-00e0-4bed-b2ef-326bd7e50483" providerId="ADAL" clId="{398C985C-4939-4904-9544-A192F358B56A}" dt="2020-05-20T16:13:01.365" v="678" actId="2696"/>
        <pc:sldMkLst>
          <pc:docMk/>
          <pc:sldMk cId="4292311958" sldId="271"/>
        </pc:sldMkLst>
      </pc:sldChg>
      <pc:sldMasterChg chg="addSp modSp add del addSldLayout delSldLayout">
        <pc:chgData name="Devid Treuling" userId="59319ebe-00e0-4bed-b2ef-326bd7e50483" providerId="ADAL" clId="{398C985C-4939-4904-9544-A192F358B56A}" dt="2020-05-20T16:04:45.595" v="192" actId="2696"/>
        <pc:sldMasterMkLst>
          <pc:docMk/>
          <pc:sldMasterMk cId="2651484743" sldId="2147483864"/>
        </pc:sldMasterMkLst>
        <pc:spChg chg="add mod">
          <ac:chgData name="Devid Treuling" userId="59319ebe-00e0-4bed-b2ef-326bd7e50483" providerId="ADAL" clId="{398C985C-4939-4904-9544-A192F358B56A}" dt="2020-05-20T16:04:17.045" v="0"/>
          <ac:spMkLst>
            <pc:docMk/>
            <pc:sldMasterMk cId="2651484743" sldId="2147483864"/>
            <ac:spMk id="2" creationId="{2CE15B16-B15B-4C97-B68A-638EA796364C}"/>
          </ac:spMkLst>
        </pc:spChg>
        <pc:spChg chg="add mod">
          <ac:chgData name="Devid Treuling" userId="59319ebe-00e0-4bed-b2ef-326bd7e50483" providerId="ADAL" clId="{398C985C-4939-4904-9544-A192F358B56A}" dt="2020-05-20T16:04:17.045" v="0"/>
          <ac:spMkLst>
            <pc:docMk/>
            <pc:sldMasterMk cId="2651484743" sldId="2147483864"/>
            <ac:spMk id="3" creationId="{D1756289-8BA9-47CC-8905-5F465C07470F}"/>
          </ac:spMkLst>
        </pc:spChg>
        <pc:spChg chg="add mod">
          <ac:chgData name="Devid Treuling" userId="59319ebe-00e0-4bed-b2ef-326bd7e50483" providerId="ADAL" clId="{398C985C-4939-4904-9544-A192F358B56A}" dt="2020-05-20T16:04:17.045" v="0"/>
          <ac:spMkLst>
            <pc:docMk/>
            <pc:sldMasterMk cId="2651484743" sldId="2147483864"/>
            <ac:spMk id="4" creationId="{53AFC883-3A4A-4493-B5C8-49728E9C102B}"/>
          </ac:spMkLst>
        </pc:spChg>
        <pc:spChg chg="add mod">
          <ac:chgData name="Devid Treuling" userId="59319ebe-00e0-4bed-b2ef-326bd7e50483" providerId="ADAL" clId="{398C985C-4939-4904-9544-A192F358B56A}" dt="2020-05-20T16:04:17.045" v="0"/>
          <ac:spMkLst>
            <pc:docMk/>
            <pc:sldMasterMk cId="2651484743" sldId="2147483864"/>
            <ac:spMk id="5" creationId="{1B0CE53B-908F-472F-902E-44CEC875B767}"/>
          </ac:spMkLst>
        </pc:spChg>
        <pc:spChg chg="add mod">
          <ac:chgData name="Devid Treuling" userId="59319ebe-00e0-4bed-b2ef-326bd7e50483" providerId="ADAL" clId="{398C985C-4939-4904-9544-A192F358B56A}" dt="2020-05-20T16:04:17.045" v="0"/>
          <ac:spMkLst>
            <pc:docMk/>
            <pc:sldMasterMk cId="2651484743" sldId="2147483864"/>
            <ac:spMk id="6" creationId="{60910DF6-470C-4FD2-AEB3-F91703A85F66}"/>
          </ac:spMkLst>
        </pc:spChg>
        <pc:sldLayoutChg chg="add del">
          <pc:chgData name="Devid Treuling" userId="59319ebe-00e0-4bed-b2ef-326bd7e50483" providerId="ADAL" clId="{398C985C-4939-4904-9544-A192F358B56A}" dt="2020-05-20T16:04:45.595" v="192" actId="2696"/>
          <pc:sldLayoutMkLst>
            <pc:docMk/>
            <pc:sldMasterMk cId="2651484743" sldId="2147483864"/>
            <pc:sldLayoutMk cId="1726332788" sldId="2147483865"/>
          </pc:sldLayoutMkLst>
        </pc:sldLayoutChg>
        <pc:sldLayoutChg chg="add del">
          <pc:chgData name="Devid Treuling" userId="59319ebe-00e0-4bed-b2ef-326bd7e50483" providerId="ADAL" clId="{398C985C-4939-4904-9544-A192F358B56A}" dt="2020-05-20T16:04:45.594" v="191" actId="2696"/>
          <pc:sldLayoutMkLst>
            <pc:docMk/>
            <pc:sldMasterMk cId="2651484743" sldId="2147483864"/>
            <pc:sldLayoutMk cId="4077783673" sldId="2147483866"/>
          </pc:sldLayoutMkLst>
        </pc:sldLayoutChg>
        <pc:sldLayoutChg chg="add del">
          <pc:chgData name="Devid Treuling" userId="59319ebe-00e0-4bed-b2ef-326bd7e50483" providerId="ADAL" clId="{398C985C-4939-4904-9544-A192F358B56A}" dt="2020-05-20T16:04:45.593" v="190" actId="2696"/>
          <pc:sldLayoutMkLst>
            <pc:docMk/>
            <pc:sldMasterMk cId="2651484743" sldId="2147483864"/>
            <pc:sldLayoutMk cId="3055791324" sldId="2147483867"/>
          </pc:sldLayoutMkLst>
        </pc:sldLayoutChg>
        <pc:sldLayoutChg chg="add del">
          <pc:chgData name="Devid Treuling" userId="59319ebe-00e0-4bed-b2ef-326bd7e50483" providerId="ADAL" clId="{398C985C-4939-4904-9544-A192F358B56A}" dt="2020-05-20T16:04:45.593" v="189" actId="2696"/>
          <pc:sldLayoutMkLst>
            <pc:docMk/>
            <pc:sldMasterMk cId="2651484743" sldId="2147483864"/>
            <pc:sldLayoutMk cId="4064112885" sldId="2147483868"/>
          </pc:sldLayoutMkLst>
        </pc:sldLayoutChg>
        <pc:sldLayoutChg chg="add del">
          <pc:chgData name="Devid Treuling" userId="59319ebe-00e0-4bed-b2ef-326bd7e50483" providerId="ADAL" clId="{398C985C-4939-4904-9544-A192F358B56A}" dt="2020-05-20T16:04:45.592" v="188" actId="2696"/>
          <pc:sldLayoutMkLst>
            <pc:docMk/>
            <pc:sldMasterMk cId="2651484743" sldId="2147483864"/>
            <pc:sldLayoutMk cId="3867488135" sldId="2147483869"/>
          </pc:sldLayoutMkLst>
        </pc:sldLayoutChg>
        <pc:sldLayoutChg chg="add del">
          <pc:chgData name="Devid Treuling" userId="59319ebe-00e0-4bed-b2ef-326bd7e50483" providerId="ADAL" clId="{398C985C-4939-4904-9544-A192F358B56A}" dt="2020-05-20T16:04:45.591" v="187" actId="2696"/>
          <pc:sldLayoutMkLst>
            <pc:docMk/>
            <pc:sldMasterMk cId="2651484743" sldId="2147483864"/>
            <pc:sldLayoutMk cId="1924743428" sldId="2147483870"/>
          </pc:sldLayoutMkLst>
        </pc:sldLayoutChg>
        <pc:sldLayoutChg chg="add del">
          <pc:chgData name="Devid Treuling" userId="59319ebe-00e0-4bed-b2ef-326bd7e50483" providerId="ADAL" clId="{398C985C-4939-4904-9544-A192F358B56A}" dt="2020-05-20T16:04:45.591" v="186" actId="2696"/>
          <pc:sldLayoutMkLst>
            <pc:docMk/>
            <pc:sldMasterMk cId="2651484743" sldId="2147483864"/>
            <pc:sldLayoutMk cId="4077229496" sldId="2147483871"/>
          </pc:sldLayoutMkLst>
        </pc:sldLayoutChg>
        <pc:sldLayoutChg chg="add del">
          <pc:chgData name="Devid Treuling" userId="59319ebe-00e0-4bed-b2ef-326bd7e50483" providerId="ADAL" clId="{398C985C-4939-4904-9544-A192F358B56A}" dt="2020-05-20T16:04:45.590" v="185" actId="2696"/>
          <pc:sldLayoutMkLst>
            <pc:docMk/>
            <pc:sldMasterMk cId="2651484743" sldId="2147483864"/>
            <pc:sldLayoutMk cId="2537157217" sldId="2147483872"/>
          </pc:sldLayoutMkLst>
        </pc:sldLayoutChg>
        <pc:sldLayoutChg chg="add del">
          <pc:chgData name="Devid Treuling" userId="59319ebe-00e0-4bed-b2ef-326bd7e50483" providerId="ADAL" clId="{398C985C-4939-4904-9544-A192F358B56A}" dt="2020-05-20T16:04:45.590" v="184" actId="2696"/>
          <pc:sldLayoutMkLst>
            <pc:docMk/>
            <pc:sldMasterMk cId="2651484743" sldId="2147483864"/>
            <pc:sldLayoutMk cId="1993860652" sldId="2147483873"/>
          </pc:sldLayoutMkLst>
        </pc:sldLayoutChg>
        <pc:sldLayoutChg chg="add del">
          <pc:chgData name="Devid Treuling" userId="59319ebe-00e0-4bed-b2ef-326bd7e50483" providerId="ADAL" clId="{398C985C-4939-4904-9544-A192F358B56A}" dt="2020-05-20T16:04:45.589" v="183" actId="2696"/>
          <pc:sldLayoutMkLst>
            <pc:docMk/>
            <pc:sldMasterMk cId="2651484743" sldId="2147483864"/>
            <pc:sldLayoutMk cId="3843053444" sldId="2147483874"/>
          </pc:sldLayoutMkLst>
        </pc:sldLayoutChg>
        <pc:sldLayoutChg chg="add del">
          <pc:chgData name="Devid Treuling" userId="59319ebe-00e0-4bed-b2ef-326bd7e50483" providerId="ADAL" clId="{398C985C-4939-4904-9544-A192F358B56A}" dt="2020-05-20T16:04:45.589" v="182" actId="2696"/>
          <pc:sldLayoutMkLst>
            <pc:docMk/>
            <pc:sldMasterMk cId="2651484743" sldId="2147483864"/>
            <pc:sldLayoutMk cId="3703745266" sldId="2147483875"/>
          </pc:sldLayoutMkLst>
        </pc:sldLayoutChg>
      </pc:sldMasterChg>
      <pc:sldMasterChg chg="addSp modSp del delSldLayout">
        <pc:chgData name="Devid Treuling" userId="59319ebe-00e0-4bed-b2ef-326bd7e50483" providerId="ADAL" clId="{398C985C-4939-4904-9544-A192F358B56A}" dt="2020-05-20T16:05:25.612" v="415" actId="2696"/>
        <pc:sldMasterMkLst>
          <pc:docMk/>
          <pc:sldMasterMk cId="3841622228" sldId="2147483864"/>
        </pc:sldMasterMkLst>
        <pc:spChg chg="add mod">
          <ac:chgData name="Devid Treuling" userId="59319ebe-00e0-4bed-b2ef-326bd7e50483" providerId="ADAL" clId="{398C985C-4939-4904-9544-A192F358B56A}" dt="2020-05-20T16:05:25.005" v="238"/>
          <ac:spMkLst>
            <pc:docMk/>
            <pc:sldMasterMk cId="3841622228" sldId="2147483864"/>
            <ac:spMk id="2" creationId="{BC80205A-1D71-426D-8B86-50F08C43DBC7}"/>
          </ac:spMkLst>
        </pc:spChg>
        <pc:spChg chg="add mod">
          <ac:chgData name="Devid Treuling" userId="59319ebe-00e0-4bed-b2ef-326bd7e50483" providerId="ADAL" clId="{398C985C-4939-4904-9544-A192F358B56A}" dt="2020-05-20T16:05:25.005" v="238"/>
          <ac:spMkLst>
            <pc:docMk/>
            <pc:sldMasterMk cId="3841622228" sldId="2147483864"/>
            <ac:spMk id="3" creationId="{DE4819E8-09DB-44E5-9F7C-CA9CA0AF5701}"/>
          </ac:spMkLst>
        </pc:spChg>
        <pc:spChg chg="add mod">
          <ac:chgData name="Devid Treuling" userId="59319ebe-00e0-4bed-b2ef-326bd7e50483" providerId="ADAL" clId="{398C985C-4939-4904-9544-A192F358B56A}" dt="2020-05-20T16:05:25.005" v="238"/>
          <ac:spMkLst>
            <pc:docMk/>
            <pc:sldMasterMk cId="3841622228" sldId="2147483864"/>
            <ac:spMk id="4" creationId="{B55C3FA7-5518-4DCC-A786-CDEF632264C2}"/>
          </ac:spMkLst>
        </pc:spChg>
        <pc:spChg chg="add mod">
          <ac:chgData name="Devid Treuling" userId="59319ebe-00e0-4bed-b2ef-326bd7e50483" providerId="ADAL" clId="{398C985C-4939-4904-9544-A192F358B56A}" dt="2020-05-20T16:05:25.005" v="238"/>
          <ac:spMkLst>
            <pc:docMk/>
            <pc:sldMasterMk cId="3841622228" sldId="2147483864"/>
            <ac:spMk id="5" creationId="{5D794B3F-34C9-4131-A3F7-73D485A88795}"/>
          </ac:spMkLst>
        </pc:spChg>
        <pc:spChg chg="add mod">
          <ac:chgData name="Devid Treuling" userId="59319ebe-00e0-4bed-b2ef-326bd7e50483" providerId="ADAL" clId="{398C985C-4939-4904-9544-A192F358B56A}" dt="2020-05-20T16:05:25.005" v="238"/>
          <ac:spMkLst>
            <pc:docMk/>
            <pc:sldMasterMk cId="3841622228" sldId="2147483864"/>
            <ac:spMk id="6" creationId="{5D8B3BE7-4094-446E-AEFD-22593C51CB00}"/>
          </ac:spMkLst>
        </pc:spChg>
        <pc:sldLayoutChg chg="del">
          <pc:chgData name="Devid Treuling" userId="59319ebe-00e0-4bed-b2ef-326bd7e50483" providerId="ADAL" clId="{398C985C-4939-4904-9544-A192F358B56A}" dt="2020-05-20T16:05:25.590" v="404" actId="2696"/>
          <pc:sldLayoutMkLst>
            <pc:docMk/>
            <pc:sldMasterMk cId="3841622228" sldId="2147483864"/>
            <pc:sldLayoutMk cId="1893573689" sldId="2147483865"/>
          </pc:sldLayoutMkLst>
        </pc:sldLayoutChg>
        <pc:sldLayoutChg chg="del">
          <pc:chgData name="Devid Treuling" userId="59319ebe-00e0-4bed-b2ef-326bd7e50483" providerId="ADAL" clId="{398C985C-4939-4904-9544-A192F358B56A}" dt="2020-05-20T16:05:25.592" v="405" actId="2696"/>
          <pc:sldLayoutMkLst>
            <pc:docMk/>
            <pc:sldMasterMk cId="3841622228" sldId="2147483864"/>
            <pc:sldLayoutMk cId="3399285681" sldId="2147483866"/>
          </pc:sldLayoutMkLst>
        </pc:sldLayoutChg>
        <pc:sldLayoutChg chg="del">
          <pc:chgData name="Devid Treuling" userId="59319ebe-00e0-4bed-b2ef-326bd7e50483" providerId="ADAL" clId="{398C985C-4939-4904-9544-A192F358B56A}" dt="2020-05-20T16:05:25.594" v="406" actId="2696"/>
          <pc:sldLayoutMkLst>
            <pc:docMk/>
            <pc:sldMasterMk cId="3841622228" sldId="2147483864"/>
            <pc:sldLayoutMk cId="2077479476" sldId="2147483867"/>
          </pc:sldLayoutMkLst>
        </pc:sldLayoutChg>
        <pc:sldLayoutChg chg="del">
          <pc:chgData name="Devid Treuling" userId="59319ebe-00e0-4bed-b2ef-326bd7e50483" providerId="ADAL" clId="{398C985C-4939-4904-9544-A192F358B56A}" dt="2020-05-20T16:05:25.596" v="407" actId="2696"/>
          <pc:sldLayoutMkLst>
            <pc:docMk/>
            <pc:sldMasterMk cId="3841622228" sldId="2147483864"/>
            <pc:sldLayoutMk cId="565445237" sldId="2147483868"/>
          </pc:sldLayoutMkLst>
        </pc:sldLayoutChg>
        <pc:sldLayoutChg chg="del">
          <pc:chgData name="Devid Treuling" userId="59319ebe-00e0-4bed-b2ef-326bd7e50483" providerId="ADAL" clId="{398C985C-4939-4904-9544-A192F358B56A}" dt="2020-05-20T16:05:25.598" v="408" actId="2696"/>
          <pc:sldLayoutMkLst>
            <pc:docMk/>
            <pc:sldMasterMk cId="3841622228" sldId="2147483864"/>
            <pc:sldLayoutMk cId="2255048477" sldId="2147483869"/>
          </pc:sldLayoutMkLst>
        </pc:sldLayoutChg>
        <pc:sldLayoutChg chg="del">
          <pc:chgData name="Devid Treuling" userId="59319ebe-00e0-4bed-b2ef-326bd7e50483" providerId="ADAL" clId="{398C985C-4939-4904-9544-A192F358B56A}" dt="2020-05-20T16:05:25.600" v="409" actId="2696"/>
          <pc:sldLayoutMkLst>
            <pc:docMk/>
            <pc:sldMasterMk cId="3841622228" sldId="2147483864"/>
            <pc:sldLayoutMk cId="421591625" sldId="2147483870"/>
          </pc:sldLayoutMkLst>
        </pc:sldLayoutChg>
        <pc:sldLayoutChg chg="del">
          <pc:chgData name="Devid Treuling" userId="59319ebe-00e0-4bed-b2ef-326bd7e50483" providerId="ADAL" clId="{398C985C-4939-4904-9544-A192F358B56A}" dt="2020-05-20T16:05:25.602" v="410" actId="2696"/>
          <pc:sldLayoutMkLst>
            <pc:docMk/>
            <pc:sldMasterMk cId="3841622228" sldId="2147483864"/>
            <pc:sldLayoutMk cId="2138353233" sldId="2147483871"/>
          </pc:sldLayoutMkLst>
        </pc:sldLayoutChg>
        <pc:sldLayoutChg chg="del">
          <pc:chgData name="Devid Treuling" userId="59319ebe-00e0-4bed-b2ef-326bd7e50483" providerId="ADAL" clId="{398C985C-4939-4904-9544-A192F358B56A}" dt="2020-05-20T16:05:25.604" v="411" actId="2696"/>
          <pc:sldLayoutMkLst>
            <pc:docMk/>
            <pc:sldMasterMk cId="3841622228" sldId="2147483864"/>
            <pc:sldLayoutMk cId="1753777085" sldId="2147483872"/>
          </pc:sldLayoutMkLst>
        </pc:sldLayoutChg>
        <pc:sldLayoutChg chg="del">
          <pc:chgData name="Devid Treuling" userId="59319ebe-00e0-4bed-b2ef-326bd7e50483" providerId="ADAL" clId="{398C985C-4939-4904-9544-A192F358B56A}" dt="2020-05-20T16:05:25.606" v="412" actId="2696"/>
          <pc:sldLayoutMkLst>
            <pc:docMk/>
            <pc:sldMasterMk cId="3841622228" sldId="2147483864"/>
            <pc:sldLayoutMk cId="470442704" sldId="2147483873"/>
          </pc:sldLayoutMkLst>
        </pc:sldLayoutChg>
        <pc:sldLayoutChg chg="del">
          <pc:chgData name="Devid Treuling" userId="59319ebe-00e0-4bed-b2ef-326bd7e50483" providerId="ADAL" clId="{398C985C-4939-4904-9544-A192F358B56A}" dt="2020-05-20T16:05:25.608" v="413" actId="2696"/>
          <pc:sldLayoutMkLst>
            <pc:docMk/>
            <pc:sldMasterMk cId="3841622228" sldId="2147483864"/>
            <pc:sldLayoutMk cId="3970212082" sldId="2147483874"/>
          </pc:sldLayoutMkLst>
        </pc:sldLayoutChg>
        <pc:sldLayoutChg chg="del">
          <pc:chgData name="Devid Treuling" userId="59319ebe-00e0-4bed-b2ef-326bd7e50483" providerId="ADAL" clId="{398C985C-4939-4904-9544-A192F358B56A}" dt="2020-05-20T16:05:25.610" v="414" actId="2696"/>
          <pc:sldLayoutMkLst>
            <pc:docMk/>
            <pc:sldMasterMk cId="3841622228" sldId="2147483864"/>
            <pc:sldLayoutMk cId="2960233629" sldId="2147483875"/>
          </pc:sldLayoutMkLst>
        </pc:sldLayoutChg>
      </pc:sldMasterChg>
      <pc:sldMasterChg chg="addSp modSp del delSldLayout">
        <pc:chgData name="Devid Treuling" userId="59319ebe-00e0-4bed-b2ef-326bd7e50483" providerId="ADAL" clId="{398C985C-4939-4904-9544-A192F358B56A}" dt="2020-05-20T16:08:52.987" v="595" actId="2696"/>
        <pc:sldMasterMkLst>
          <pc:docMk/>
          <pc:sldMasterMk cId="1358694653" sldId="2147483921"/>
        </pc:sldMasterMkLst>
        <pc:spChg chg="add mod">
          <ac:chgData name="Devid Treuling" userId="59319ebe-00e0-4bed-b2ef-326bd7e50483" providerId="ADAL" clId="{398C985C-4939-4904-9544-A192F358B56A}" dt="2020-05-20T16:08:52.015" v="417"/>
          <ac:spMkLst>
            <pc:docMk/>
            <pc:sldMasterMk cId="1358694653" sldId="2147483921"/>
            <ac:spMk id="2" creationId="{3B4B49F4-1210-4ACB-BE70-E1F8DFBBB0CC}"/>
          </ac:spMkLst>
        </pc:spChg>
        <pc:spChg chg="add mod">
          <ac:chgData name="Devid Treuling" userId="59319ebe-00e0-4bed-b2ef-326bd7e50483" providerId="ADAL" clId="{398C985C-4939-4904-9544-A192F358B56A}" dt="2020-05-20T16:08:52.015" v="417"/>
          <ac:spMkLst>
            <pc:docMk/>
            <pc:sldMasterMk cId="1358694653" sldId="2147483921"/>
            <ac:spMk id="3" creationId="{88897D7F-6BAB-40F7-B16B-FF31ADFB7561}"/>
          </ac:spMkLst>
        </pc:spChg>
        <pc:spChg chg="add mod">
          <ac:chgData name="Devid Treuling" userId="59319ebe-00e0-4bed-b2ef-326bd7e50483" providerId="ADAL" clId="{398C985C-4939-4904-9544-A192F358B56A}" dt="2020-05-20T16:08:52.015" v="417"/>
          <ac:spMkLst>
            <pc:docMk/>
            <pc:sldMasterMk cId="1358694653" sldId="2147483921"/>
            <ac:spMk id="4" creationId="{02CBD53F-CA10-482F-B703-AE06BC17C5E2}"/>
          </ac:spMkLst>
        </pc:spChg>
        <pc:spChg chg="add mod">
          <ac:chgData name="Devid Treuling" userId="59319ebe-00e0-4bed-b2ef-326bd7e50483" providerId="ADAL" clId="{398C985C-4939-4904-9544-A192F358B56A}" dt="2020-05-20T16:08:52.015" v="417"/>
          <ac:spMkLst>
            <pc:docMk/>
            <pc:sldMasterMk cId="1358694653" sldId="2147483921"/>
            <ac:spMk id="5" creationId="{BA349910-FFA5-4E99-AD48-57221A54FB50}"/>
          </ac:spMkLst>
        </pc:spChg>
        <pc:spChg chg="add mod">
          <ac:chgData name="Devid Treuling" userId="59319ebe-00e0-4bed-b2ef-326bd7e50483" providerId="ADAL" clId="{398C985C-4939-4904-9544-A192F358B56A}" dt="2020-05-20T16:08:52.015" v="417"/>
          <ac:spMkLst>
            <pc:docMk/>
            <pc:sldMasterMk cId="1358694653" sldId="2147483921"/>
            <ac:spMk id="6" creationId="{49D1DC12-2F7F-497C-866E-631BA5802EA4}"/>
          </ac:spMkLst>
        </pc:spChg>
        <pc:sldLayoutChg chg="del">
          <pc:chgData name="Devid Treuling" userId="59319ebe-00e0-4bed-b2ef-326bd7e50483" providerId="ADAL" clId="{398C985C-4939-4904-9544-A192F358B56A}" dt="2020-05-20T16:08:52.966" v="584" actId="2696"/>
          <pc:sldLayoutMkLst>
            <pc:docMk/>
            <pc:sldMasterMk cId="1358694653" sldId="2147483921"/>
            <pc:sldLayoutMk cId="2810436917" sldId="2147483922"/>
          </pc:sldLayoutMkLst>
        </pc:sldLayoutChg>
        <pc:sldLayoutChg chg="del">
          <pc:chgData name="Devid Treuling" userId="59319ebe-00e0-4bed-b2ef-326bd7e50483" providerId="ADAL" clId="{398C985C-4939-4904-9544-A192F358B56A}" dt="2020-05-20T16:08:52.969" v="585" actId="2696"/>
          <pc:sldLayoutMkLst>
            <pc:docMk/>
            <pc:sldMasterMk cId="1358694653" sldId="2147483921"/>
            <pc:sldLayoutMk cId="2721730055" sldId="2147483923"/>
          </pc:sldLayoutMkLst>
        </pc:sldLayoutChg>
        <pc:sldLayoutChg chg="del">
          <pc:chgData name="Devid Treuling" userId="59319ebe-00e0-4bed-b2ef-326bd7e50483" providerId="ADAL" clId="{398C985C-4939-4904-9544-A192F358B56A}" dt="2020-05-20T16:08:52.970" v="586" actId="2696"/>
          <pc:sldLayoutMkLst>
            <pc:docMk/>
            <pc:sldMasterMk cId="1358694653" sldId="2147483921"/>
            <pc:sldLayoutMk cId="3179144291" sldId="2147483924"/>
          </pc:sldLayoutMkLst>
        </pc:sldLayoutChg>
        <pc:sldLayoutChg chg="del">
          <pc:chgData name="Devid Treuling" userId="59319ebe-00e0-4bed-b2ef-326bd7e50483" providerId="ADAL" clId="{398C985C-4939-4904-9544-A192F358B56A}" dt="2020-05-20T16:08:52.972" v="587" actId="2696"/>
          <pc:sldLayoutMkLst>
            <pc:docMk/>
            <pc:sldMasterMk cId="1358694653" sldId="2147483921"/>
            <pc:sldLayoutMk cId="1442391696" sldId="2147483925"/>
          </pc:sldLayoutMkLst>
        </pc:sldLayoutChg>
        <pc:sldLayoutChg chg="del">
          <pc:chgData name="Devid Treuling" userId="59319ebe-00e0-4bed-b2ef-326bd7e50483" providerId="ADAL" clId="{398C985C-4939-4904-9544-A192F358B56A}" dt="2020-05-20T16:08:52.974" v="588" actId="2696"/>
          <pc:sldLayoutMkLst>
            <pc:docMk/>
            <pc:sldMasterMk cId="1358694653" sldId="2147483921"/>
            <pc:sldLayoutMk cId="1649204090" sldId="2147483926"/>
          </pc:sldLayoutMkLst>
        </pc:sldLayoutChg>
        <pc:sldLayoutChg chg="del">
          <pc:chgData name="Devid Treuling" userId="59319ebe-00e0-4bed-b2ef-326bd7e50483" providerId="ADAL" clId="{398C985C-4939-4904-9544-A192F358B56A}" dt="2020-05-20T16:08:52.976" v="589" actId="2696"/>
          <pc:sldLayoutMkLst>
            <pc:docMk/>
            <pc:sldMasterMk cId="1358694653" sldId="2147483921"/>
            <pc:sldLayoutMk cId="3852108103" sldId="2147483927"/>
          </pc:sldLayoutMkLst>
        </pc:sldLayoutChg>
        <pc:sldLayoutChg chg="del">
          <pc:chgData name="Devid Treuling" userId="59319ebe-00e0-4bed-b2ef-326bd7e50483" providerId="ADAL" clId="{398C985C-4939-4904-9544-A192F358B56A}" dt="2020-05-20T16:08:52.977" v="590" actId="2696"/>
          <pc:sldLayoutMkLst>
            <pc:docMk/>
            <pc:sldMasterMk cId="1358694653" sldId="2147483921"/>
            <pc:sldLayoutMk cId="1534802247" sldId="2147483928"/>
          </pc:sldLayoutMkLst>
        </pc:sldLayoutChg>
        <pc:sldLayoutChg chg="del">
          <pc:chgData name="Devid Treuling" userId="59319ebe-00e0-4bed-b2ef-326bd7e50483" providerId="ADAL" clId="{398C985C-4939-4904-9544-A192F358B56A}" dt="2020-05-20T16:08:52.979" v="591" actId="2696"/>
          <pc:sldLayoutMkLst>
            <pc:docMk/>
            <pc:sldMasterMk cId="1358694653" sldId="2147483921"/>
            <pc:sldLayoutMk cId="3265015643" sldId="2147483929"/>
          </pc:sldLayoutMkLst>
        </pc:sldLayoutChg>
        <pc:sldLayoutChg chg="del">
          <pc:chgData name="Devid Treuling" userId="59319ebe-00e0-4bed-b2ef-326bd7e50483" providerId="ADAL" clId="{398C985C-4939-4904-9544-A192F358B56A}" dt="2020-05-20T16:08:52.981" v="592" actId="2696"/>
          <pc:sldLayoutMkLst>
            <pc:docMk/>
            <pc:sldMasterMk cId="1358694653" sldId="2147483921"/>
            <pc:sldLayoutMk cId="3394884444" sldId="2147483930"/>
          </pc:sldLayoutMkLst>
        </pc:sldLayoutChg>
        <pc:sldLayoutChg chg="del">
          <pc:chgData name="Devid Treuling" userId="59319ebe-00e0-4bed-b2ef-326bd7e50483" providerId="ADAL" clId="{398C985C-4939-4904-9544-A192F358B56A}" dt="2020-05-20T16:08:52.983" v="593" actId="2696"/>
          <pc:sldLayoutMkLst>
            <pc:docMk/>
            <pc:sldMasterMk cId="1358694653" sldId="2147483921"/>
            <pc:sldLayoutMk cId="345827871" sldId="2147483931"/>
          </pc:sldLayoutMkLst>
        </pc:sldLayoutChg>
        <pc:sldLayoutChg chg="del">
          <pc:chgData name="Devid Treuling" userId="59319ebe-00e0-4bed-b2ef-326bd7e50483" providerId="ADAL" clId="{398C985C-4939-4904-9544-A192F358B56A}" dt="2020-05-20T16:08:52.984" v="594" actId="2696"/>
          <pc:sldLayoutMkLst>
            <pc:docMk/>
            <pc:sldMasterMk cId="1358694653" sldId="2147483921"/>
            <pc:sldLayoutMk cId="2518630061" sldId="2147483932"/>
          </pc:sldLayoutMkLst>
        </pc:sldLayoutChg>
      </pc:sldMasterChg>
      <pc:sldMasterChg chg="addSp modSp del delSldLayout">
        <pc:chgData name="Devid Treuling" userId="59319ebe-00e0-4bed-b2ef-326bd7e50483" providerId="ADAL" clId="{398C985C-4939-4904-9544-A192F358B56A}" dt="2020-05-20T16:13:01.600" v="775" actId="2696"/>
        <pc:sldMasterMkLst>
          <pc:docMk/>
          <pc:sldMasterMk cId="2573477763" sldId="2147483978"/>
        </pc:sldMasterMkLst>
        <pc:spChg chg="add mod">
          <ac:chgData name="Devid Treuling" userId="59319ebe-00e0-4bed-b2ef-326bd7e50483" providerId="ADAL" clId="{398C985C-4939-4904-9544-A192F358B56A}" dt="2020-05-20T16:13:00.191" v="597"/>
          <ac:spMkLst>
            <pc:docMk/>
            <pc:sldMasterMk cId="2573477763" sldId="2147483978"/>
            <ac:spMk id="2" creationId="{574EE0C3-95FE-4DC8-8E83-69A5289CA23A}"/>
          </ac:spMkLst>
        </pc:spChg>
        <pc:spChg chg="add mod">
          <ac:chgData name="Devid Treuling" userId="59319ebe-00e0-4bed-b2ef-326bd7e50483" providerId="ADAL" clId="{398C985C-4939-4904-9544-A192F358B56A}" dt="2020-05-20T16:13:00.191" v="597"/>
          <ac:spMkLst>
            <pc:docMk/>
            <pc:sldMasterMk cId="2573477763" sldId="2147483978"/>
            <ac:spMk id="3" creationId="{9625F689-F8F2-4359-ACA5-946F256F9D23}"/>
          </ac:spMkLst>
        </pc:spChg>
        <pc:spChg chg="add mod">
          <ac:chgData name="Devid Treuling" userId="59319ebe-00e0-4bed-b2ef-326bd7e50483" providerId="ADAL" clId="{398C985C-4939-4904-9544-A192F358B56A}" dt="2020-05-20T16:13:00.191" v="597"/>
          <ac:spMkLst>
            <pc:docMk/>
            <pc:sldMasterMk cId="2573477763" sldId="2147483978"/>
            <ac:spMk id="4" creationId="{30C55F17-177B-4498-AF59-49F6AAB6EA13}"/>
          </ac:spMkLst>
        </pc:spChg>
        <pc:spChg chg="add mod">
          <ac:chgData name="Devid Treuling" userId="59319ebe-00e0-4bed-b2ef-326bd7e50483" providerId="ADAL" clId="{398C985C-4939-4904-9544-A192F358B56A}" dt="2020-05-20T16:13:00.191" v="597"/>
          <ac:spMkLst>
            <pc:docMk/>
            <pc:sldMasterMk cId="2573477763" sldId="2147483978"/>
            <ac:spMk id="5" creationId="{65AB059A-6658-4178-B0DB-F3B3B194DBE6}"/>
          </ac:spMkLst>
        </pc:spChg>
        <pc:spChg chg="add mod">
          <ac:chgData name="Devid Treuling" userId="59319ebe-00e0-4bed-b2ef-326bd7e50483" providerId="ADAL" clId="{398C985C-4939-4904-9544-A192F358B56A}" dt="2020-05-20T16:13:00.191" v="597"/>
          <ac:spMkLst>
            <pc:docMk/>
            <pc:sldMasterMk cId="2573477763" sldId="2147483978"/>
            <ac:spMk id="6" creationId="{1D18AEB3-05E5-44F0-A966-E41BCAE4496E}"/>
          </ac:spMkLst>
        </pc:spChg>
        <pc:sldLayoutChg chg="del">
          <pc:chgData name="Devid Treuling" userId="59319ebe-00e0-4bed-b2ef-326bd7e50483" providerId="ADAL" clId="{398C985C-4939-4904-9544-A192F358B56A}" dt="2020-05-20T16:13:01.566" v="764" actId="2696"/>
          <pc:sldLayoutMkLst>
            <pc:docMk/>
            <pc:sldMasterMk cId="2573477763" sldId="2147483978"/>
            <pc:sldLayoutMk cId="3528020602" sldId="2147483979"/>
          </pc:sldLayoutMkLst>
        </pc:sldLayoutChg>
        <pc:sldLayoutChg chg="del">
          <pc:chgData name="Devid Treuling" userId="59319ebe-00e0-4bed-b2ef-326bd7e50483" providerId="ADAL" clId="{398C985C-4939-4904-9544-A192F358B56A}" dt="2020-05-20T16:13:01.570" v="765" actId="2696"/>
          <pc:sldLayoutMkLst>
            <pc:docMk/>
            <pc:sldMasterMk cId="2573477763" sldId="2147483978"/>
            <pc:sldLayoutMk cId="3019794853" sldId="2147483980"/>
          </pc:sldLayoutMkLst>
        </pc:sldLayoutChg>
        <pc:sldLayoutChg chg="del">
          <pc:chgData name="Devid Treuling" userId="59319ebe-00e0-4bed-b2ef-326bd7e50483" providerId="ADAL" clId="{398C985C-4939-4904-9544-A192F358B56A}" dt="2020-05-20T16:13:01.573" v="766" actId="2696"/>
          <pc:sldLayoutMkLst>
            <pc:docMk/>
            <pc:sldMasterMk cId="2573477763" sldId="2147483978"/>
            <pc:sldLayoutMk cId="2987191947" sldId="2147483981"/>
          </pc:sldLayoutMkLst>
        </pc:sldLayoutChg>
        <pc:sldLayoutChg chg="del">
          <pc:chgData name="Devid Treuling" userId="59319ebe-00e0-4bed-b2ef-326bd7e50483" providerId="ADAL" clId="{398C985C-4939-4904-9544-A192F358B56A}" dt="2020-05-20T16:13:01.576" v="767" actId="2696"/>
          <pc:sldLayoutMkLst>
            <pc:docMk/>
            <pc:sldMasterMk cId="2573477763" sldId="2147483978"/>
            <pc:sldLayoutMk cId="218821904" sldId="2147483982"/>
          </pc:sldLayoutMkLst>
        </pc:sldLayoutChg>
        <pc:sldLayoutChg chg="del">
          <pc:chgData name="Devid Treuling" userId="59319ebe-00e0-4bed-b2ef-326bd7e50483" providerId="ADAL" clId="{398C985C-4939-4904-9544-A192F358B56A}" dt="2020-05-20T16:13:01.580" v="768" actId="2696"/>
          <pc:sldLayoutMkLst>
            <pc:docMk/>
            <pc:sldMasterMk cId="2573477763" sldId="2147483978"/>
            <pc:sldLayoutMk cId="513356965" sldId="2147483983"/>
          </pc:sldLayoutMkLst>
        </pc:sldLayoutChg>
        <pc:sldLayoutChg chg="del">
          <pc:chgData name="Devid Treuling" userId="59319ebe-00e0-4bed-b2ef-326bd7e50483" providerId="ADAL" clId="{398C985C-4939-4904-9544-A192F358B56A}" dt="2020-05-20T16:13:01.582" v="769" actId="2696"/>
          <pc:sldLayoutMkLst>
            <pc:docMk/>
            <pc:sldMasterMk cId="2573477763" sldId="2147483978"/>
            <pc:sldLayoutMk cId="1771020024" sldId="2147483984"/>
          </pc:sldLayoutMkLst>
        </pc:sldLayoutChg>
        <pc:sldLayoutChg chg="del">
          <pc:chgData name="Devid Treuling" userId="59319ebe-00e0-4bed-b2ef-326bd7e50483" providerId="ADAL" clId="{398C985C-4939-4904-9544-A192F358B56A}" dt="2020-05-20T16:13:01.585" v="770" actId="2696"/>
          <pc:sldLayoutMkLst>
            <pc:docMk/>
            <pc:sldMasterMk cId="2573477763" sldId="2147483978"/>
            <pc:sldLayoutMk cId="3534819392" sldId="2147483985"/>
          </pc:sldLayoutMkLst>
        </pc:sldLayoutChg>
        <pc:sldLayoutChg chg="del">
          <pc:chgData name="Devid Treuling" userId="59319ebe-00e0-4bed-b2ef-326bd7e50483" providerId="ADAL" clId="{398C985C-4939-4904-9544-A192F358B56A}" dt="2020-05-20T16:13:01.587" v="771" actId="2696"/>
          <pc:sldLayoutMkLst>
            <pc:docMk/>
            <pc:sldMasterMk cId="2573477763" sldId="2147483978"/>
            <pc:sldLayoutMk cId="342695629" sldId="2147483986"/>
          </pc:sldLayoutMkLst>
        </pc:sldLayoutChg>
        <pc:sldLayoutChg chg="del">
          <pc:chgData name="Devid Treuling" userId="59319ebe-00e0-4bed-b2ef-326bd7e50483" providerId="ADAL" clId="{398C985C-4939-4904-9544-A192F358B56A}" dt="2020-05-20T16:13:01.589" v="772" actId="2696"/>
          <pc:sldLayoutMkLst>
            <pc:docMk/>
            <pc:sldMasterMk cId="2573477763" sldId="2147483978"/>
            <pc:sldLayoutMk cId="816798728" sldId="2147483987"/>
          </pc:sldLayoutMkLst>
        </pc:sldLayoutChg>
        <pc:sldLayoutChg chg="del">
          <pc:chgData name="Devid Treuling" userId="59319ebe-00e0-4bed-b2ef-326bd7e50483" providerId="ADAL" clId="{398C985C-4939-4904-9544-A192F358B56A}" dt="2020-05-20T16:13:01.592" v="773" actId="2696"/>
          <pc:sldLayoutMkLst>
            <pc:docMk/>
            <pc:sldMasterMk cId="2573477763" sldId="2147483978"/>
            <pc:sldLayoutMk cId="96144985" sldId="2147483988"/>
          </pc:sldLayoutMkLst>
        </pc:sldLayoutChg>
        <pc:sldLayoutChg chg="del">
          <pc:chgData name="Devid Treuling" userId="59319ebe-00e0-4bed-b2ef-326bd7e50483" providerId="ADAL" clId="{398C985C-4939-4904-9544-A192F358B56A}" dt="2020-05-20T16:13:01.595" v="774" actId="2696"/>
          <pc:sldLayoutMkLst>
            <pc:docMk/>
            <pc:sldMasterMk cId="2573477763" sldId="2147483978"/>
            <pc:sldLayoutMk cId="631391370" sldId="2147483989"/>
          </pc:sldLayoutMkLst>
        </pc:sldLayoutChg>
      </pc:sldMasterChg>
    </pc:docChg>
  </pc:docChgLst>
</pc:chgInfo>
</file>

<file path=ppt/diagrams/_rels/data34.xml.rels><?xml version="1.0" encoding="UTF-8" standalone="yes"?>
<Relationships xmlns="http://schemas.openxmlformats.org/package/2006/relationships"><Relationship Id="rId1" Type="http://schemas.openxmlformats.org/officeDocument/2006/relationships/hyperlink" Target="https://aka.ms/sqlCE" TargetMode="External"/></Relationships>
</file>

<file path=ppt/diagrams/_rels/drawing34.xml.rels><?xml version="1.0" encoding="UTF-8" standalone="yes"?>
<Relationships xmlns="http://schemas.openxmlformats.org/package/2006/relationships"><Relationship Id="rId1" Type="http://schemas.openxmlformats.org/officeDocument/2006/relationships/hyperlink" Target="https://aka.ms/sqlC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9A892C-A3A9-4896-A59C-28D406BD948C}"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63CE6B90-3D92-4975-94D9-2937C2A1EA08}">
      <dgm:prSet/>
      <dgm:spPr/>
      <dgm:t>
        <a:bodyPr/>
        <a:lstStyle/>
        <a:p>
          <a:r>
            <a:rPr lang="en-GB" b="1"/>
            <a:t>Query Performance Insight</a:t>
          </a:r>
          <a:endParaRPr lang="en-US"/>
        </a:p>
      </dgm:t>
    </dgm:pt>
    <dgm:pt modelId="{4AF7EC84-84BE-4BD2-94E1-0C0C155F9665}" type="parTrans" cxnId="{9FBD51B3-1513-45AC-81F9-09168B54E3F3}">
      <dgm:prSet/>
      <dgm:spPr/>
      <dgm:t>
        <a:bodyPr/>
        <a:lstStyle/>
        <a:p>
          <a:endParaRPr lang="en-US"/>
        </a:p>
      </dgm:t>
    </dgm:pt>
    <dgm:pt modelId="{8741137C-5049-444D-9E1D-B9C26D035847}" type="sibTrans" cxnId="{9FBD51B3-1513-45AC-81F9-09168B54E3F3}">
      <dgm:prSet/>
      <dgm:spPr/>
      <dgm:t>
        <a:bodyPr/>
        <a:lstStyle/>
        <a:p>
          <a:endParaRPr lang="en-US"/>
        </a:p>
      </dgm:t>
    </dgm:pt>
    <dgm:pt modelId="{3BC0A050-8FCB-44FA-825E-75E1257C606C}">
      <dgm:prSet/>
      <dgm:spPr/>
      <dgm:t>
        <a:bodyPr/>
        <a:lstStyle/>
        <a:p>
          <a:r>
            <a:rPr lang="en-GB" dirty="0"/>
            <a:t>Shows top performance degrading queries by showing most resource consuming queries, long running queries and custom configuration.</a:t>
          </a:r>
          <a:endParaRPr lang="en-US" dirty="0"/>
        </a:p>
      </dgm:t>
    </dgm:pt>
    <dgm:pt modelId="{5F649681-695F-48D0-8879-45D3E5819599}" type="parTrans" cxnId="{B6D92341-372D-44F2-AAE4-E97E3B2F8D48}">
      <dgm:prSet/>
      <dgm:spPr/>
      <dgm:t>
        <a:bodyPr/>
        <a:lstStyle/>
        <a:p>
          <a:endParaRPr lang="en-US"/>
        </a:p>
      </dgm:t>
    </dgm:pt>
    <dgm:pt modelId="{9C2EE3E3-3E38-4A5F-93EF-2363B51941F9}" type="sibTrans" cxnId="{B6D92341-372D-44F2-AAE4-E97E3B2F8D48}">
      <dgm:prSet/>
      <dgm:spPr/>
      <dgm:t>
        <a:bodyPr/>
        <a:lstStyle/>
        <a:p>
          <a:endParaRPr lang="en-US"/>
        </a:p>
      </dgm:t>
    </dgm:pt>
    <dgm:pt modelId="{A43F95EF-7B1D-46D7-AD5F-ABED5FE760D4}">
      <dgm:prSet/>
      <dgm:spPr/>
      <dgm:t>
        <a:bodyPr/>
        <a:lstStyle/>
        <a:p>
          <a:r>
            <a:rPr lang="en-GB"/>
            <a:t>Can drill through the queries to see Query text, CPU, data IO and Log IO utilization %, Duration and Execution count.</a:t>
          </a:r>
          <a:endParaRPr lang="en-US"/>
        </a:p>
      </dgm:t>
    </dgm:pt>
    <dgm:pt modelId="{A041D93C-166D-4814-AF39-6E08D7073C44}" type="parTrans" cxnId="{42FDD21B-975D-44F3-ABA6-FA24AD6B52CB}">
      <dgm:prSet/>
      <dgm:spPr/>
      <dgm:t>
        <a:bodyPr/>
        <a:lstStyle/>
        <a:p>
          <a:endParaRPr lang="en-US"/>
        </a:p>
      </dgm:t>
    </dgm:pt>
    <dgm:pt modelId="{A31FB3FF-C452-4D87-A500-22BD5EFE5613}" type="sibTrans" cxnId="{42FDD21B-975D-44F3-ABA6-FA24AD6B52CB}">
      <dgm:prSet/>
      <dgm:spPr/>
      <dgm:t>
        <a:bodyPr/>
        <a:lstStyle/>
        <a:p>
          <a:endParaRPr lang="en-US"/>
        </a:p>
      </dgm:t>
    </dgm:pt>
    <dgm:pt modelId="{E276A3D7-B63F-4B50-B0BC-0189614546EC}" type="pres">
      <dgm:prSet presAssocID="{749A892C-A3A9-4896-A59C-28D406BD948C}" presName="Name0" presStyleCnt="0">
        <dgm:presLayoutVars>
          <dgm:dir/>
          <dgm:animLvl val="lvl"/>
          <dgm:resizeHandles val="exact"/>
        </dgm:presLayoutVars>
      </dgm:prSet>
      <dgm:spPr/>
    </dgm:pt>
    <dgm:pt modelId="{1AFF3C4D-1919-474F-A9FD-B82F7CDD7B63}" type="pres">
      <dgm:prSet presAssocID="{63CE6B90-3D92-4975-94D9-2937C2A1EA08}" presName="composite" presStyleCnt="0"/>
      <dgm:spPr/>
    </dgm:pt>
    <dgm:pt modelId="{D9413363-4A44-498B-ADBF-BEBA43F0769C}" type="pres">
      <dgm:prSet presAssocID="{63CE6B90-3D92-4975-94D9-2937C2A1EA08}" presName="parTx" presStyleLbl="alignNode1" presStyleIdx="0" presStyleCnt="1">
        <dgm:presLayoutVars>
          <dgm:chMax val="0"/>
          <dgm:chPref val="0"/>
          <dgm:bulletEnabled val="1"/>
        </dgm:presLayoutVars>
      </dgm:prSet>
      <dgm:spPr/>
    </dgm:pt>
    <dgm:pt modelId="{1E31AB1D-0A0E-4EA3-AB60-FFFFEFEDB237}" type="pres">
      <dgm:prSet presAssocID="{63CE6B90-3D92-4975-94D9-2937C2A1EA08}" presName="desTx" presStyleLbl="alignAccFollowNode1" presStyleIdx="0" presStyleCnt="1">
        <dgm:presLayoutVars>
          <dgm:bulletEnabled val="1"/>
        </dgm:presLayoutVars>
      </dgm:prSet>
      <dgm:spPr/>
    </dgm:pt>
  </dgm:ptLst>
  <dgm:cxnLst>
    <dgm:cxn modelId="{42FDD21B-975D-44F3-ABA6-FA24AD6B52CB}" srcId="{63CE6B90-3D92-4975-94D9-2937C2A1EA08}" destId="{A43F95EF-7B1D-46D7-AD5F-ABED5FE760D4}" srcOrd="1" destOrd="0" parTransId="{A041D93C-166D-4814-AF39-6E08D7073C44}" sibTransId="{A31FB3FF-C452-4D87-A500-22BD5EFE5613}"/>
    <dgm:cxn modelId="{B31FAD3B-179D-4463-AD83-E24475AC49FD}" type="presOf" srcId="{3BC0A050-8FCB-44FA-825E-75E1257C606C}" destId="{1E31AB1D-0A0E-4EA3-AB60-FFFFEFEDB237}" srcOrd="0" destOrd="0" presId="urn:microsoft.com/office/officeart/2005/8/layout/hList1"/>
    <dgm:cxn modelId="{B6D92341-372D-44F2-AAE4-E97E3B2F8D48}" srcId="{63CE6B90-3D92-4975-94D9-2937C2A1EA08}" destId="{3BC0A050-8FCB-44FA-825E-75E1257C606C}" srcOrd="0" destOrd="0" parTransId="{5F649681-695F-48D0-8879-45D3E5819599}" sibTransId="{9C2EE3E3-3E38-4A5F-93EF-2363B51941F9}"/>
    <dgm:cxn modelId="{04BAB268-6A78-4C38-840C-83DDB81D0251}" type="presOf" srcId="{63CE6B90-3D92-4975-94D9-2937C2A1EA08}" destId="{D9413363-4A44-498B-ADBF-BEBA43F0769C}" srcOrd="0" destOrd="0" presId="urn:microsoft.com/office/officeart/2005/8/layout/hList1"/>
    <dgm:cxn modelId="{36D30059-61D0-4FBB-8628-0BA65A1344C5}" type="presOf" srcId="{A43F95EF-7B1D-46D7-AD5F-ABED5FE760D4}" destId="{1E31AB1D-0A0E-4EA3-AB60-FFFFEFEDB237}" srcOrd="0" destOrd="1" presId="urn:microsoft.com/office/officeart/2005/8/layout/hList1"/>
    <dgm:cxn modelId="{9FBD51B3-1513-45AC-81F9-09168B54E3F3}" srcId="{749A892C-A3A9-4896-A59C-28D406BD948C}" destId="{63CE6B90-3D92-4975-94D9-2937C2A1EA08}" srcOrd="0" destOrd="0" parTransId="{4AF7EC84-84BE-4BD2-94E1-0C0C155F9665}" sibTransId="{8741137C-5049-444D-9E1D-B9C26D035847}"/>
    <dgm:cxn modelId="{078766C4-CAD7-4240-81D0-ED66D9108A1E}" type="presOf" srcId="{749A892C-A3A9-4896-A59C-28D406BD948C}" destId="{E276A3D7-B63F-4B50-B0BC-0189614546EC}" srcOrd="0" destOrd="0" presId="urn:microsoft.com/office/officeart/2005/8/layout/hList1"/>
    <dgm:cxn modelId="{4B6049E8-70B4-4600-A639-6AA25BD8A57B}" type="presParOf" srcId="{E276A3D7-B63F-4B50-B0BC-0189614546EC}" destId="{1AFF3C4D-1919-474F-A9FD-B82F7CDD7B63}" srcOrd="0" destOrd="0" presId="urn:microsoft.com/office/officeart/2005/8/layout/hList1"/>
    <dgm:cxn modelId="{D9B8D6AD-FF30-49D2-892B-38BD9DB838AE}" type="presParOf" srcId="{1AFF3C4D-1919-474F-A9FD-B82F7CDD7B63}" destId="{D9413363-4A44-498B-ADBF-BEBA43F0769C}" srcOrd="0" destOrd="0" presId="urn:microsoft.com/office/officeart/2005/8/layout/hList1"/>
    <dgm:cxn modelId="{9305684A-DDB4-4D60-97D9-89E98E011458}" type="presParOf" srcId="{1AFF3C4D-1919-474F-A9FD-B82F7CDD7B63}" destId="{1E31AB1D-0A0E-4EA3-AB60-FFFFEFEDB23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06B0F420-A2DD-4C38-8943-E47A75976368}">
      <dgm:prSet custT="1"/>
      <dgm:spPr/>
      <dgm:t>
        <a:bodyPr/>
        <a:lstStyle/>
        <a:p>
          <a:r>
            <a:rPr lang="en-US" sz="2400" b="1" dirty="0"/>
            <a:t>A History of Intelligent Query Processing?</a:t>
          </a:r>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6BDBDA80-DB95-497B-8068-BB546AD49364}">
      <dgm:prSet custT="1"/>
      <dgm:spPr/>
      <dgm:t>
        <a:bodyPr/>
        <a:lstStyle/>
        <a:p>
          <a:r>
            <a:rPr lang="en-US" sz="2400" b="1" dirty="0"/>
            <a:t>Intelligent Query Processing (2019)</a:t>
          </a:r>
        </a:p>
      </dgm:t>
    </dgm:pt>
    <dgm:pt modelId="{8A9064D7-5B0E-466F-B415-6619685C29BE}" type="parTrans" cxnId="{441C97A2-845A-439D-A640-D404E23AA783}">
      <dgm:prSet/>
      <dgm:spPr/>
      <dgm:t>
        <a:bodyPr/>
        <a:lstStyle/>
        <a:p>
          <a:endParaRPr lang="en-US"/>
        </a:p>
      </dgm:t>
    </dgm:pt>
    <dgm:pt modelId="{49EE1B11-F80C-4C91-BD6F-544BB55D79A2}" type="sibTrans" cxnId="{441C97A2-845A-439D-A640-D404E23AA783}">
      <dgm:prSet/>
      <dgm:spPr/>
      <dgm:t>
        <a:bodyPr/>
        <a:lstStyle/>
        <a:p>
          <a:endParaRPr lang="en-US"/>
        </a:p>
      </dgm:t>
    </dgm:pt>
    <dgm:pt modelId="{4798BF4A-4B5C-42B7-BF1C-495465BB8F2A}">
      <dgm:prSet custT="1"/>
      <dgm:spPr/>
      <dgm:t>
        <a:bodyPr/>
        <a:lstStyle/>
        <a:p>
          <a:r>
            <a:rPr lang="en-US" sz="2400" b="1" dirty="0"/>
            <a:t>Adaptive Query Processing (2017)</a:t>
          </a:r>
        </a:p>
      </dgm:t>
    </dgm:pt>
    <dgm:pt modelId="{4AEE2964-4314-4AEC-8D0B-B57F29FF895D}" type="parTrans" cxnId="{A385A0C9-D5D3-44AF-A7EF-4DD8B441CCA7}">
      <dgm:prSet/>
      <dgm:spPr/>
      <dgm:t>
        <a:bodyPr/>
        <a:lstStyle/>
        <a:p>
          <a:endParaRPr lang="en-US"/>
        </a:p>
      </dgm:t>
    </dgm:pt>
    <dgm:pt modelId="{C8042726-7EC9-4192-8622-198304CF0D14}" type="sibTrans" cxnId="{A385A0C9-D5D3-44AF-A7EF-4DD8B441CCA7}">
      <dgm:prSet/>
      <dgm:spPr/>
      <dgm:t>
        <a:bodyPr/>
        <a:lstStyle/>
        <a:p>
          <a:endParaRPr lang="en-US"/>
        </a:p>
      </dgm:t>
    </dgm:pt>
    <dgm:pt modelId="{DA36808D-214D-4712-9CA5-5BBCF19CFF03}">
      <dgm:prSet custT="1"/>
      <dgm:spPr/>
      <dgm:t>
        <a:bodyPr/>
        <a:lstStyle/>
        <a:p>
          <a:r>
            <a:rPr lang="en-US" sz="2400" b="1" dirty="0"/>
            <a:t>New Features of IQP (2022)</a:t>
          </a:r>
        </a:p>
      </dgm:t>
    </dgm:pt>
    <dgm:pt modelId="{9BAC6198-FD89-443F-B9E4-973C85421C4E}" type="parTrans" cxnId="{CB942401-5078-4DE5-A34C-07D8C2494A19}">
      <dgm:prSet/>
      <dgm:spPr/>
      <dgm:t>
        <a:bodyPr/>
        <a:lstStyle/>
        <a:p>
          <a:endParaRPr lang="en-US"/>
        </a:p>
      </dgm:t>
    </dgm:pt>
    <dgm:pt modelId="{EC4A3A85-3C42-44ED-B4AD-28D3F79046B3}" type="sibTrans" cxnId="{CB942401-5078-4DE5-A34C-07D8C2494A19}">
      <dgm:prSet/>
      <dgm:spPr/>
      <dgm:t>
        <a:bodyPr/>
        <a:lstStyle/>
        <a:p>
          <a:endParaRPr lang="en-US"/>
        </a:p>
      </dgm:t>
    </dgm:pt>
    <dgm:pt modelId="{48208E93-0ED2-4783-A420-DF569AB92630}">
      <dgm:prSet custT="1"/>
      <dgm:spPr/>
      <dgm:t>
        <a:bodyPr/>
        <a:lstStyle/>
        <a:p>
          <a:r>
            <a:rPr lang="en-US" sz="2400" b="1" dirty="0"/>
            <a:t>Enabling and Disabling Features</a:t>
          </a:r>
        </a:p>
      </dgm:t>
    </dgm:pt>
    <dgm:pt modelId="{7A75F61A-27C1-4581-933A-59EBB710BD5D}" type="parTrans" cxnId="{712E8F45-742F-4A07-8BBB-568F5A2EC5E9}">
      <dgm:prSet/>
      <dgm:spPr/>
      <dgm:t>
        <a:bodyPr/>
        <a:lstStyle/>
        <a:p>
          <a:endParaRPr lang="en-US"/>
        </a:p>
      </dgm:t>
    </dgm:pt>
    <dgm:pt modelId="{62759427-9436-43B2-BD24-3EAC37DD7971}" type="sibTrans" cxnId="{712E8F45-742F-4A07-8BBB-568F5A2EC5E9}">
      <dgm:prSet/>
      <dgm:spPr/>
      <dgm:t>
        <a:bodyPr/>
        <a:lstStyle/>
        <a:p>
          <a:endParaRPr lang="en-US"/>
        </a:p>
      </dgm:t>
    </dgm:pt>
    <dgm:pt modelId="{811B5D52-89C6-4ADA-98E4-5D00A32367D3}" type="pres">
      <dgm:prSet presAssocID="{86EB11C7-8E35-496E-8BBA-B5FE5C2DA876}" presName="linear" presStyleCnt="0">
        <dgm:presLayoutVars>
          <dgm:animLvl val="lvl"/>
          <dgm:resizeHandles val="exact"/>
        </dgm:presLayoutVars>
      </dgm:prSet>
      <dgm:spPr/>
    </dgm:pt>
    <dgm:pt modelId="{92FF7EA9-1E01-4FFE-84FF-2108C119A703}" type="pres">
      <dgm:prSet presAssocID="{06B0F420-A2DD-4C38-8943-E47A75976368}" presName="parentText" presStyleLbl="node1" presStyleIdx="0" presStyleCnt="5">
        <dgm:presLayoutVars>
          <dgm:chMax val="0"/>
          <dgm:bulletEnabled val="1"/>
        </dgm:presLayoutVars>
      </dgm:prSet>
      <dgm:spPr/>
    </dgm:pt>
    <dgm:pt modelId="{FF3568EE-C689-41FB-AF6A-7DDE495F3BDC}" type="pres">
      <dgm:prSet presAssocID="{48F85F08-174A-488C-AB7D-4915668FD800}" presName="spacer" presStyleCnt="0"/>
      <dgm:spPr/>
    </dgm:pt>
    <dgm:pt modelId="{B3FF4F94-AFF8-45A0-8726-E9EEAE2647AC}" type="pres">
      <dgm:prSet presAssocID="{48208E93-0ED2-4783-A420-DF569AB92630}" presName="parentText" presStyleLbl="node1" presStyleIdx="1" presStyleCnt="5">
        <dgm:presLayoutVars>
          <dgm:chMax val="0"/>
          <dgm:bulletEnabled val="1"/>
        </dgm:presLayoutVars>
      </dgm:prSet>
      <dgm:spPr/>
    </dgm:pt>
    <dgm:pt modelId="{48E7319E-9045-44D6-8F87-2277C10CC886}" type="pres">
      <dgm:prSet presAssocID="{62759427-9436-43B2-BD24-3EAC37DD7971}" presName="spacer" presStyleCnt="0"/>
      <dgm:spPr/>
    </dgm:pt>
    <dgm:pt modelId="{0F7F3B2F-F893-42CF-8954-92A2820F6E2E}" type="pres">
      <dgm:prSet presAssocID="{4798BF4A-4B5C-42B7-BF1C-495465BB8F2A}" presName="parentText" presStyleLbl="node1" presStyleIdx="2" presStyleCnt="5">
        <dgm:presLayoutVars>
          <dgm:chMax val="0"/>
          <dgm:bulletEnabled val="1"/>
        </dgm:presLayoutVars>
      </dgm:prSet>
      <dgm:spPr/>
    </dgm:pt>
    <dgm:pt modelId="{2063A944-E317-45D3-8C00-13542930C124}" type="pres">
      <dgm:prSet presAssocID="{C8042726-7EC9-4192-8622-198304CF0D14}" presName="spacer" presStyleCnt="0"/>
      <dgm:spPr/>
    </dgm:pt>
    <dgm:pt modelId="{0BB1E448-787F-4D41-AE24-573228A9BDF0}" type="pres">
      <dgm:prSet presAssocID="{6BDBDA80-DB95-497B-8068-BB546AD49364}" presName="parentText" presStyleLbl="node1" presStyleIdx="3" presStyleCnt="5" custLinFactNeighborX="0" custLinFactNeighborY="-6496">
        <dgm:presLayoutVars>
          <dgm:chMax val="0"/>
          <dgm:bulletEnabled val="1"/>
        </dgm:presLayoutVars>
      </dgm:prSet>
      <dgm:spPr/>
    </dgm:pt>
    <dgm:pt modelId="{EEC4F975-3670-4257-B957-E1426C51BC9A}" type="pres">
      <dgm:prSet presAssocID="{49EE1B11-F80C-4C91-BD6F-544BB55D79A2}" presName="spacer" presStyleCnt="0"/>
      <dgm:spPr/>
    </dgm:pt>
    <dgm:pt modelId="{0D9E27B9-5A62-4832-890E-77836DFDF54B}" type="pres">
      <dgm:prSet presAssocID="{DA36808D-214D-4712-9CA5-5BBCF19CFF03}" presName="parentText" presStyleLbl="node1" presStyleIdx="4" presStyleCnt="5">
        <dgm:presLayoutVars>
          <dgm:chMax val="0"/>
          <dgm:bulletEnabled val="1"/>
        </dgm:presLayoutVars>
      </dgm:prSet>
      <dgm:spPr/>
    </dgm:pt>
  </dgm:ptLst>
  <dgm:cxnLst>
    <dgm:cxn modelId="{CB942401-5078-4DE5-A34C-07D8C2494A19}" srcId="{86EB11C7-8E35-496E-8BBA-B5FE5C2DA876}" destId="{DA36808D-214D-4712-9CA5-5BBCF19CFF03}" srcOrd="4" destOrd="0" parTransId="{9BAC6198-FD89-443F-B9E4-973C85421C4E}" sibTransId="{EC4A3A85-3C42-44ED-B4AD-28D3F79046B3}"/>
    <dgm:cxn modelId="{51311304-619B-4893-BC52-86905EE054A5}" type="presOf" srcId="{86EB11C7-8E35-496E-8BBA-B5FE5C2DA876}" destId="{811B5D52-89C6-4ADA-98E4-5D00A32367D3}" srcOrd="0" destOrd="0" presId="urn:microsoft.com/office/officeart/2005/8/layout/vList2"/>
    <dgm:cxn modelId="{9BF2145E-E8A0-4187-B9DF-D771E163C365}" type="presOf" srcId="{4798BF4A-4B5C-42B7-BF1C-495465BB8F2A}" destId="{0F7F3B2F-F893-42CF-8954-92A2820F6E2E}" srcOrd="0" destOrd="0" presId="urn:microsoft.com/office/officeart/2005/8/layout/vList2"/>
    <dgm:cxn modelId="{3FA7F744-0946-4746-A94D-B3B0F3AB4289}" srcId="{86EB11C7-8E35-496E-8BBA-B5FE5C2DA876}" destId="{06B0F420-A2DD-4C38-8943-E47A75976368}" srcOrd="0" destOrd="0" parTransId="{DDA18201-CAF4-4AF1-9209-D0B1EDB8C3BE}" sibTransId="{48F85F08-174A-488C-AB7D-4915668FD800}"/>
    <dgm:cxn modelId="{712E8F45-742F-4A07-8BBB-568F5A2EC5E9}" srcId="{86EB11C7-8E35-496E-8BBA-B5FE5C2DA876}" destId="{48208E93-0ED2-4783-A420-DF569AB92630}" srcOrd="1" destOrd="0" parTransId="{7A75F61A-27C1-4581-933A-59EBB710BD5D}" sibTransId="{62759427-9436-43B2-BD24-3EAC37DD7971}"/>
    <dgm:cxn modelId="{386AFB68-5AED-4451-8F31-5ADE3A61A1C1}" type="presOf" srcId="{DA36808D-214D-4712-9CA5-5BBCF19CFF03}" destId="{0D9E27B9-5A62-4832-890E-77836DFDF54B}" srcOrd="0" destOrd="0" presId="urn:microsoft.com/office/officeart/2005/8/layout/vList2"/>
    <dgm:cxn modelId="{441C97A2-845A-439D-A640-D404E23AA783}" srcId="{86EB11C7-8E35-496E-8BBA-B5FE5C2DA876}" destId="{6BDBDA80-DB95-497B-8068-BB546AD49364}" srcOrd="3" destOrd="0" parTransId="{8A9064D7-5B0E-466F-B415-6619685C29BE}" sibTransId="{49EE1B11-F80C-4C91-BD6F-544BB55D79A2}"/>
    <dgm:cxn modelId="{03E964A4-0096-48A5-B6DA-58241C03B623}" type="presOf" srcId="{06B0F420-A2DD-4C38-8943-E47A75976368}" destId="{92FF7EA9-1E01-4FFE-84FF-2108C119A703}" srcOrd="0" destOrd="0" presId="urn:microsoft.com/office/officeart/2005/8/layout/vList2"/>
    <dgm:cxn modelId="{9EC2D7A4-A5CD-4793-9678-A0B7FBC8904D}" type="presOf" srcId="{48208E93-0ED2-4783-A420-DF569AB92630}" destId="{B3FF4F94-AFF8-45A0-8726-E9EEAE2647AC}" srcOrd="0" destOrd="0" presId="urn:microsoft.com/office/officeart/2005/8/layout/vList2"/>
    <dgm:cxn modelId="{E36E36C1-3164-4E63-8C5D-2150F554D487}" type="presOf" srcId="{6BDBDA80-DB95-497B-8068-BB546AD49364}" destId="{0BB1E448-787F-4D41-AE24-573228A9BDF0}" srcOrd="0" destOrd="0" presId="urn:microsoft.com/office/officeart/2005/8/layout/vList2"/>
    <dgm:cxn modelId="{A385A0C9-D5D3-44AF-A7EF-4DD8B441CCA7}" srcId="{86EB11C7-8E35-496E-8BBA-B5FE5C2DA876}" destId="{4798BF4A-4B5C-42B7-BF1C-495465BB8F2A}" srcOrd="2" destOrd="0" parTransId="{4AEE2964-4314-4AEC-8D0B-B57F29FF895D}" sibTransId="{C8042726-7EC9-4192-8622-198304CF0D14}"/>
    <dgm:cxn modelId="{946C2483-4797-4E96-8183-ADBCBD641362}" type="presParOf" srcId="{811B5D52-89C6-4ADA-98E4-5D00A32367D3}" destId="{92FF7EA9-1E01-4FFE-84FF-2108C119A703}" srcOrd="0" destOrd="0" presId="urn:microsoft.com/office/officeart/2005/8/layout/vList2"/>
    <dgm:cxn modelId="{11EC5E8C-DEE8-4234-AE9B-C0E08CDA4F79}" type="presParOf" srcId="{811B5D52-89C6-4ADA-98E4-5D00A32367D3}" destId="{FF3568EE-C689-41FB-AF6A-7DDE495F3BDC}" srcOrd="1" destOrd="0" presId="urn:microsoft.com/office/officeart/2005/8/layout/vList2"/>
    <dgm:cxn modelId="{A6A248A1-7ED4-4216-AD08-F578FEDC6761}" type="presParOf" srcId="{811B5D52-89C6-4ADA-98E4-5D00A32367D3}" destId="{B3FF4F94-AFF8-45A0-8726-E9EEAE2647AC}" srcOrd="2" destOrd="0" presId="urn:microsoft.com/office/officeart/2005/8/layout/vList2"/>
    <dgm:cxn modelId="{B98FDBED-A079-44D2-852C-C7AF81A5016D}" type="presParOf" srcId="{811B5D52-89C6-4ADA-98E4-5D00A32367D3}" destId="{48E7319E-9045-44D6-8F87-2277C10CC886}" srcOrd="3" destOrd="0" presId="urn:microsoft.com/office/officeart/2005/8/layout/vList2"/>
    <dgm:cxn modelId="{B6A4A397-6A9F-4E62-805B-01FFB52FCE98}" type="presParOf" srcId="{811B5D52-89C6-4ADA-98E4-5D00A32367D3}" destId="{0F7F3B2F-F893-42CF-8954-92A2820F6E2E}" srcOrd="4" destOrd="0" presId="urn:microsoft.com/office/officeart/2005/8/layout/vList2"/>
    <dgm:cxn modelId="{78253563-3DAE-40F4-84CC-7CED7DE4AD56}" type="presParOf" srcId="{811B5D52-89C6-4ADA-98E4-5D00A32367D3}" destId="{2063A944-E317-45D3-8C00-13542930C124}" srcOrd="5" destOrd="0" presId="urn:microsoft.com/office/officeart/2005/8/layout/vList2"/>
    <dgm:cxn modelId="{37428776-5B7B-429D-BE9C-C37AC2A93FFA}" type="presParOf" srcId="{811B5D52-89C6-4ADA-98E4-5D00A32367D3}" destId="{0BB1E448-787F-4D41-AE24-573228A9BDF0}" srcOrd="6" destOrd="0" presId="urn:microsoft.com/office/officeart/2005/8/layout/vList2"/>
    <dgm:cxn modelId="{6329A25D-2650-47E9-A35C-31C659778AE7}" type="presParOf" srcId="{811B5D52-89C6-4ADA-98E4-5D00A32367D3}" destId="{EEC4F975-3670-4257-B957-E1426C51BC9A}" srcOrd="7" destOrd="0" presId="urn:microsoft.com/office/officeart/2005/8/layout/vList2"/>
    <dgm:cxn modelId="{D27DB709-760D-4331-BFB8-E473198706A4}" type="presParOf" srcId="{811B5D52-89C6-4ADA-98E4-5D00A32367D3}" destId="{0D9E27B9-5A62-4832-890E-77836DFDF54B}"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accent6">
            <a:lumMod val="75000"/>
          </a:schemeClr>
        </a:solidFill>
      </dgm:spPr>
      <dgm:t>
        <a:bodyPr/>
        <a:lstStyle/>
        <a:p>
          <a:r>
            <a:rPr lang="en-US" dirty="0"/>
            <a:t>Row Mod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5"/>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4"/>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5"/>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4"/>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5"/>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3" presStyleIdx="2" presStyleCnt="4"/>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2" presStyleIdx="2" presStyleCnt="5"/>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4" presStyleIdx="0" presStyleCnt="2"/>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5"/>
      <dgm:spPr/>
    </dgm:pt>
    <dgm:pt modelId="{330902C9-A030-4F0E-8F44-4D46DA5BCFB1}" type="pres">
      <dgm:prSet presAssocID="{270DB351-209F-44E3-AE5D-DD3AA05A8175}" presName="hierChild3" presStyleCnt="0"/>
      <dgm:spPr/>
    </dgm:pt>
    <dgm:pt modelId="{5CC0C396-8377-475C-A00D-7F8341A1F477}" type="pres">
      <dgm:prSet presAssocID="{FAA45A8D-079A-4FAC-87D1-08D72268764D}" presName="Name19" presStyleLbl="parChTrans1D4" presStyleIdx="1" presStyleCnt="2"/>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4" presStyleCnt="5"/>
      <dgm:spPr/>
    </dgm:pt>
    <dgm:pt modelId="{65955D25-5FF5-4C6B-92DA-30B6843FBE65}" type="pres">
      <dgm:prSet presAssocID="{5261F5C2-903F-4994-916A-72A90DAE7F2D}" presName="hierChild3" presStyleCnt="0"/>
      <dgm:spPr/>
    </dgm:pt>
    <dgm:pt modelId="{54FE398B-EB4B-4376-8CAD-D5884C340DB3}" type="pres">
      <dgm:prSet presAssocID="{7E8BFC1C-609E-4A2A-A6DE-56B66744C355}" presName="Name19" presStyleLbl="parChTrans1D2" presStyleIdx="1" presStyleCnt="5"/>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5"/>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5"/>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5"/>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3" presStyleCnt="4"/>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742FF205-1B4C-462C-ABBD-F2CB88EA006B}" srcId="{FE5A3D51-3C08-4DB9-99E3-39C94436AA5B}" destId="{5261F5C2-903F-4994-916A-72A90DAE7F2D}" srcOrd="1"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55439F12-5DE9-4759-8F8C-B604CFFD785D}" type="presOf" srcId="{270DB351-209F-44E3-AE5D-DD3AA05A8175}" destId="{8F552DA2-FC5B-40D6-B601-DCA076FAF8FB}"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B8617E25-688E-475B-8679-A1D87925804B}" srcId="{EC5624F3-2170-43DC-97A6-A153AC2072F1}" destId="{DDFC3CEC-231C-49DE-8234-5A81205F633E}" srcOrd="4" destOrd="0" parTransId="{8258E7A2-05F2-49E4-B3A6-F4702FB05F8A}" sibTransId="{AFF9EF7A-8DCE-46EC-BFDE-38B86F0B3FAA}"/>
    <dgm:cxn modelId="{9D9FF526-FD98-414A-A27E-EA82F19FE7DF}" type="presOf" srcId="{3A2A32F0-C73D-42A0-BA11-AFA02ABE79C2}" destId="{9F73EFAA-AC05-4F91-9BA5-6E511FAF9278}" srcOrd="0" destOrd="0" presId="urn:microsoft.com/office/officeart/2005/8/layout/hierarchy6"/>
    <dgm:cxn modelId="{7E1DEA3F-5E77-49DD-B2AA-1D9D568DE04F}" type="presOf" srcId="{B2937768-267F-4FD0-B209-ADCABB3F2609}" destId="{5690923D-9059-4138-8ACF-90D405019F8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EDF7EA4A-10A6-4ED1-82BC-7C38ECBDFC44}" type="presOf" srcId="{69703607-1CEF-4962-A22B-C8239D13F2F4}" destId="{52433208-80E6-4924-B192-66BA710CE757}" srcOrd="0" destOrd="0" presId="urn:microsoft.com/office/officeart/2005/8/layout/hierarchy6"/>
    <dgm:cxn modelId="{1BC12C53-F79F-495D-AB86-E7656020780A}" type="presOf" srcId="{FAA45A8D-079A-4FAC-87D1-08D72268764D}" destId="{5CC0C396-8377-475C-A00D-7F8341A1F47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7E8B6988-AC2C-4577-8ACF-52A105CA95A0}" type="presOf" srcId="{DAF4A804-FF79-40DF-805D-58E5C402C862}" destId="{2A969FB1-A0CA-4BCB-9811-B1C2A2D37CF2}"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C4FD79A7-1CFC-4F18-BDBD-B1020980D916}" type="presOf" srcId="{FE5A3D51-3C08-4DB9-99E3-39C94436AA5B}" destId="{4819E298-A51F-4C6C-8730-AFE2F6D20F30}" srcOrd="0" destOrd="0" presId="urn:microsoft.com/office/officeart/2005/8/layout/hierarchy6"/>
    <dgm:cxn modelId="{425C6AAE-F082-482C-A790-1C417607865C}" type="presOf" srcId="{5261F5C2-903F-4994-916A-72A90DAE7F2D}" destId="{82B5BF8B-57A2-4E22-AA4A-CDE9EE34C77B}"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91810EE0-6BCF-4263-AA2F-DB283FC2EB3D}" type="presOf" srcId="{9D361AED-F287-426D-889C-035A581FCAD4}" destId="{9B0BC5A7-6A70-41C3-871D-416E6CE7FB15}"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11D4FCA-141D-4B32-B5CE-C2AA5DEE176A}" type="presParOf" srcId="{4C118CD9-0F4D-4592-8997-BCE0C79E8E72}" destId="{9F73EFAA-AC05-4F91-9BA5-6E511FAF9278}" srcOrd="4" destOrd="0" presId="urn:microsoft.com/office/officeart/2005/8/layout/hierarchy6"/>
    <dgm:cxn modelId="{3C6B8F80-E2FA-429B-8661-2D41ACC92929}" type="presParOf" srcId="{4C118CD9-0F4D-4592-8997-BCE0C79E8E72}" destId="{EEBFBD1D-D977-4A6E-A8F4-F0D34CB82784}" srcOrd="5" destOrd="0" presId="urn:microsoft.com/office/officeart/2005/8/layout/hierarchy6"/>
    <dgm:cxn modelId="{4B7A0DFC-3FCA-4806-A3D8-E002F7CE096B}" type="presParOf" srcId="{EEBFBD1D-D977-4A6E-A8F4-F0D34CB82784}" destId="{4819E298-A51F-4C6C-8730-AFE2F6D20F30}" srcOrd="0" destOrd="0" presId="urn:microsoft.com/office/officeart/2005/8/layout/hierarchy6"/>
    <dgm:cxn modelId="{E1F58D1C-A038-4258-BD18-DF481732AB92}" type="presParOf" srcId="{EEBFBD1D-D977-4A6E-A8F4-F0D34CB82784}" destId="{973A634F-D053-4D7F-96EC-F5173C9A25FF}" srcOrd="1" destOrd="0" presId="urn:microsoft.com/office/officeart/2005/8/layout/hierarchy6"/>
    <dgm:cxn modelId="{154DF761-C2CA-4ECE-864C-127F5681483A}" type="presParOf" srcId="{973A634F-D053-4D7F-96EC-F5173C9A25FF}" destId="{5690923D-9059-4138-8ACF-90D405019F80}" srcOrd="0" destOrd="0" presId="urn:microsoft.com/office/officeart/2005/8/layout/hierarchy6"/>
    <dgm:cxn modelId="{56EC39B6-CD5A-4B59-B9AD-5837E1926B8A}" type="presParOf" srcId="{973A634F-D053-4D7F-96EC-F5173C9A25FF}" destId="{2A332E69-B5C0-4A68-B4C3-29696724CD01}" srcOrd="1" destOrd="0" presId="urn:microsoft.com/office/officeart/2005/8/layout/hierarchy6"/>
    <dgm:cxn modelId="{1EC81097-B34E-42D0-9796-911C3D64378A}" type="presParOf" srcId="{2A332E69-B5C0-4A68-B4C3-29696724CD01}" destId="{8F552DA2-FC5B-40D6-B601-DCA076FAF8FB}" srcOrd="0" destOrd="0" presId="urn:microsoft.com/office/officeart/2005/8/layout/hierarchy6"/>
    <dgm:cxn modelId="{853644CC-5DE5-4DC4-B2FC-C525AC1248A1}" type="presParOf" srcId="{2A332E69-B5C0-4A68-B4C3-29696724CD01}" destId="{330902C9-A030-4F0E-8F44-4D46DA5BCFB1}" srcOrd="1" destOrd="0" presId="urn:microsoft.com/office/officeart/2005/8/layout/hierarchy6"/>
    <dgm:cxn modelId="{0B819809-DB6A-43C6-9FAE-D352D61B6C75}" type="presParOf" srcId="{973A634F-D053-4D7F-96EC-F5173C9A25FF}" destId="{5CC0C396-8377-475C-A00D-7F8341A1F477}" srcOrd="2" destOrd="0" presId="urn:microsoft.com/office/officeart/2005/8/layout/hierarchy6"/>
    <dgm:cxn modelId="{0C69E57B-CD22-4134-BDED-791E30EE3430}" type="presParOf" srcId="{973A634F-D053-4D7F-96EC-F5173C9A25FF}" destId="{20755089-D219-4FE9-8B97-A1923491F114}" srcOrd="3" destOrd="0" presId="urn:microsoft.com/office/officeart/2005/8/layout/hierarchy6"/>
    <dgm:cxn modelId="{3C2F906A-D7F2-4C16-A221-96124F5375E3}" type="presParOf" srcId="{20755089-D219-4FE9-8B97-A1923491F114}" destId="{82B5BF8B-57A2-4E22-AA4A-CDE9EE34C77B}" srcOrd="0" destOrd="0" presId="urn:microsoft.com/office/officeart/2005/8/layout/hierarchy6"/>
    <dgm:cxn modelId="{1BD4CFD2-F6FB-44C6-8DC7-F2C3F961FFD2}" type="presParOf" srcId="{20755089-D219-4FE9-8B97-A1923491F114}" destId="{65955D25-5FF5-4C6B-92DA-30B6843FBE65}"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chemeClr val="tx2">
            <a:lumMod val="60000"/>
            <a:lumOff val="40000"/>
          </a:schemeClr>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BFA158E-C0B2-4491-A478-D35EA9CB2E8C}" type="doc">
      <dgm:prSet loTypeId="urn:microsoft.com/office/officeart/2005/8/layout/vList5" loCatId="list" qsTypeId="urn:microsoft.com/office/officeart/2005/8/quickstyle/simple1" qsCatId="simple" csTypeId="urn:microsoft.com/office/officeart/2005/8/colors/accent4_1" csCatId="accent4"/>
      <dgm:spPr/>
      <dgm:t>
        <a:bodyPr/>
        <a:lstStyle/>
        <a:p>
          <a:endParaRPr lang="en-US"/>
        </a:p>
      </dgm:t>
    </dgm:pt>
    <dgm:pt modelId="{7C1BA52E-682C-46B6-B49B-7EAADCFF842C}">
      <dgm:prSet/>
      <dgm:spPr/>
      <dgm:t>
        <a:bodyPr/>
        <a:lstStyle/>
        <a:p>
          <a:r>
            <a:rPr lang="en-US" b="0" i="0" baseline="0"/>
            <a:t>For SQL Server 2017 Features</a:t>
          </a:r>
          <a:endParaRPr lang="en-US"/>
        </a:p>
      </dgm:t>
    </dgm:pt>
    <dgm:pt modelId="{3C94FEB3-6732-481E-8DA5-5CE9AE085000}" type="parTrans" cxnId="{0EE34BC9-F720-4A7B-B4E8-3B2F08AEDBB9}">
      <dgm:prSet/>
      <dgm:spPr/>
      <dgm:t>
        <a:bodyPr/>
        <a:lstStyle/>
        <a:p>
          <a:endParaRPr lang="en-US"/>
        </a:p>
      </dgm:t>
    </dgm:pt>
    <dgm:pt modelId="{E7D30D8F-1972-407E-8C57-3E274FF6E093}" type="sibTrans" cxnId="{0EE34BC9-F720-4A7B-B4E8-3B2F08AEDBB9}">
      <dgm:prSet/>
      <dgm:spPr/>
      <dgm:t>
        <a:bodyPr/>
        <a:lstStyle/>
        <a:p>
          <a:endParaRPr lang="en-US"/>
        </a:p>
      </dgm:t>
    </dgm:pt>
    <dgm:pt modelId="{A966074A-A3EF-484B-8458-43BC88A0DB50}">
      <dgm:prSet/>
      <dgm:spPr/>
      <dgm:t>
        <a:bodyPr/>
        <a:lstStyle/>
        <a:p>
          <a:r>
            <a:rPr lang="en-US" b="0" i="0" baseline="0"/>
            <a:t>Enabled by default in Compatibility level 140 or higher</a:t>
          </a:r>
          <a:endParaRPr lang="en-US"/>
        </a:p>
      </dgm:t>
    </dgm:pt>
    <dgm:pt modelId="{7669BD68-FAA4-46FB-BD81-DC6E6F1677BD}" type="parTrans" cxnId="{ECA9CB09-85D4-4B64-93BB-72BBA7EA7B4D}">
      <dgm:prSet/>
      <dgm:spPr/>
      <dgm:t>
        <a:bodyPr/>
        <a:lstStyle/>
        <a:p>
          <a:endParaRPr lang="en-US"/>
        </a:p>
      </dgm:t>
    </dgm:pt>
    <dgm:pt modelId="{690BA8BF-FA89-412C-81ED-2ED5C321A439}" type="sibTrans" cxnId="{ECA9CB09-85D4-4B64-93BB-72BBA7EA7B4D}">
      <dgm:prSet/>
      <dgm:spPr/>
      <dgm:t>
        <a:bodyPr/>
        <a:lstStyle/>
        <a:p>
          <a:endParaRPr lang="en-US"/>
        </a:p>
      </dgm:t>
    </dgm:pt>
    <dgm:pt modelId="{E125D2A4-CCA8-4E48-8961-B1A8C4B97641}">
      <dgm:prSet/>
      <dgm:spPr/>
      <dgm:t>
        <a:bodyPr/>
        <a:lstStyle/>
        <a:p>
          <a:r>
            <a:rPr lang="en-US" b="0" i="0" baseline="0"/>
            <a:t>To disable change compatibility level to 130 or lower</a:t>
          </a:r>
          <a:endParaRPr lang="en-US"/>
        </a:p>
      </dgm:t>
    </dgm:pt>
    <dgm:pt modelId="{70E278DC-E01C-4DF4-A2BE-9F2D0481C884}" type="parTrans" cxnId="{4CA5AAA7-C285-4013-A35F-8972361F1590}">
      <dgm:prSet/>
      <dgm:spPr/>
      <dgm:t>
        <a:bodyPr/>
        <a:lstStyle/>
        <a:p>
          <a:endParaRPr lang="en-US"/>
        </a:p>
      </dgm:t>
    </dgm:pt>
    <dgm:pt modelId="{4674537B-B8D1-42D9-8C21-FA1B3F6E877E}" type="sibTrans" cxnId="{4CA5AAA7-C285-4013-A35F-8972361F1590}">
      <dgm:prSet/>
      <dgm:spPr/>
      <dgm:t>
        <a:bodyPr/>
        <a:lstStyle/>
        <a:p>
          <a:endParaRPr lang="en-US"/>
        </a:p>
      </dgm:t>
    </dgm:pt>
    <dgm:pt modelId="{40E1E09E-7149-49CF-8D93-01B7D31D818C}">
      <dgm:prSet/>
      <dgm:spPr/>
      <dgm:t>
        <a:bodyPr/>
        <a:lstStyle/>
        <a:p>
          <a:r>
            <a:rPr lang="en-US" b="0" i="0" baseline="0"/>
            <a:t>For SQL Server 2019 Features</a:t>
          </a:r>
          <a:endParaRPr lang="en-US"/>
        </a:p>
      </dgm:t>
    </dgm:pt>
    <dgm:pt modelId="{57206C63-51DF-446B-81F6-C0D61CAB6BF3}" type="parTrans" cxnId="{480542F7-3BD3-44FE-A2ED-367808B11D91}">
      <dgm:prSet/>
      <dgm:spPr/>
      <dgm:t>
        <a:bodyPr/>
        <a:lstStyle/>
        <a:p>
          <a:endParaRPr lang="en-US"/>
        </a:p>
      </dgm:t>
    </dgm:pt>
    <dgm:pt modelId="{308B6EFB-DF43-4EC2-97C8-A638768B7104}" type="sibTrans" cxnId="{480542F7-3BD3-44FE-A2ED-367808B11D91}">
      <dgm:prSet/>
      <dgm:spPr/>
      <dgm:t>
        <a:bodyPr/>
        <a:lstStyle/>
        <a:p>
          <a:endParaRPr lang="en-US"/>
        </a:p>
      </dgm:t>
    </dgm:pt>
    <dgm:pt modelId="{7193DCC5-7302-4B13-A9E8-625CDA53828D}">
      <dgm:prSet/>
      <dgm:spPr/>
      <dgm:t>
        <a:bodyPr/>
        <a:lstStyle/>
        <a:p>
          <a:r>
            <a:rPr lang="en-US" b="0" i="0" baseline="0"/>
            <a:t>Enabled by default in Compatibility level 150 or higher</a:t>
          </a:r>
          <a:endParaRPr lang="en-US"/>
        </a:p>
      </dgm:t>
    </dgm:pt>
    <dgm:pt modelId="{22258A30-BA4D-4845-B054-9712801C8450}" type="parTrans" cxnId="{786F7975-26C1-45BC-946E-BCC73554DEEC}">
      <dgm:prSet/>
      <dgm:spPr/>
      <dgm:t>
        <a:bodyPr/>
        <a:lstStyle/>
        <a:p>
          <a:endParaRPr lang="en-US"/>
        </a:p>
      </dgm:t>
    </dgm:pt>
    <dgm:pt modelId="{90AAAE82-89B6-4FF0-84A7-EC6DD96A0C24}" type="sibTrans" cxnId="{786F7975-26C1-45BC-946E-BCC73554DEEC}">
      <dgm:prSet/>
      <dgm:spPr/>
      <dgm:t>
        <a:bodyPr/>
        <a:lstStyle/>
        <a:p>
          <a:endParaRPr lang="en-US"/>
        </a:p>
      </dgm:t>
    </dgm:pt>
    <dgm:pt modelId="{6575D6B8-BCC1-450A-BB72-AC4D21FBEDDF}">
      <dgm:prSet/>
      <dgm:spPr/>
      <dgm:t>
        <a:bodyPr/>
        <a:lstStyle/>
        <a:p>
          <a:r>
            <a:rPr lang="en-US" b="0" i="0" baseline="0"/>
            <a:t>To disable change compatibility level to 140 or lower</a:t>
          </a:r>
          <a:endParaRPr lang="en-US"/>
        </a:p>
      </dgm:t>
    </dgm:pt>
    <dgm:pt modelId="{D146F1BE-7003-42F8-97A4-92C859160D3C}" type="parTrans" cxnId="{2A9E1010-25CB-4546-ADDD-0B0460197580}">
      <dgm:prSet/>
      <dgm:spPr/>
      <dgm:t>
        <a:bodyPr/>
        <a:lstStyle/>
        <a:p>
          <a:endParaRPr lang="en-US"/>
        </a:p>
      </dgm:t>
    </dgm:pt>
    <dgm:pt modelId="{80E48E7C-9E00-4FBE-9B42-BD6DE0E45480}" type="sibTrans" cxnId="{2A9E1010-25CB-4546-ADDD-0B0460197580}">
      <dgm:prSet/>
      <dgm:spPr/>
      <dgm:t>
        <a:bodyPr/>
        <a:lstStyle/>
        <a:p>
          <a:endParaRPr lang="en-US"/>
        </a:p>
      </dgm:t>
    </dgm:pt>
    <dgm:pt modelId="{20B86D46-23F7-4247-8F2A-205EE1B4999A}">
      <dgm:prSet/>
      <dgm:spPr/>
      <dgm:t>
        <a:bodyPr/>
        <a:lstStyle/>
        <a:p>
          <a:r>
            <a:rPr lang="en-US" b="0" i="0" baseline="0"/>
            <a:t>For SQL Server 2022 Features</a:t>
          </a:r>
          <a:endParaRPr lang="en-US"/>
        </a:p>
      </dgm:t>
    </dgm:pt>
    <dgm:pt modelId="{5AC410F1-AD67-4F11-95D4-7C688F3C0ABA}" type="parTrans" cxnId="{6D9D1B7E-5444-4667-B599-CDE1FBB9ADE4}">
      <dgm:prSet/>
      <dgm:spPr/>
      <dgm:t>
        <a:bodyPr/>
        <a:lstStyle/>
        <a:p>
          <a:endParaRPr lang="en-US"/>
        </a:p>
      </dgm:t>
    </dgm:pt>
    <dgm:pt modelId="{E1ACE809-FC7E-4699-89CF-DE3BB1A12A3D}" type="sibTrans" cxnId="{6D9D1B7E-5444-4667-B599-CDE1FBB9ADE4}">
      <dgm:prSet/>
      <dgm:spPr/>
      <dgm:t>
        <a:bodyPr/>
        <a:lstStyle/>
        <a:p>
          <a:endParaRPr lang="en-US"/>
        </a:p>
      </dgm:t>
    </dgm:pt>
    <dgm:pt modelId="{B6DF4F87-87DB-4AFB-90CA-95354A3431B8}">
      <dgm:prSet/>
      <dgm:spPr/>
      <dgm:t>
        <a:bodyPr/>
        <a:lstStyle/>
        <a:p>
          <a:r>
            <a:rPr lang="en-US" b="0" i="0" baseline="0"/>
            <a:t>Enabled by default in Compatibility level 160 or higher</a:t>
          </a:r>
          <a:endParaRPr lang="en-US"/>
        </a:p>
      </dgm:t>
    </dgm:pt>
    <dgm:pt modelId="{23B423A7-0D56-4481-9944-A38F66DE8D65}" type="parTrans" cxnId="{F6E49F48-E7B1-42F9-8194-F5BB5E22F219}">
      <dgm:prSet/>
      <dgm:spPr/>
      <dgm:t>
        <a:bodyPr/>
        <a:lstStyle/>
        <a:p>
          <a:endParaRPr lang="en-US"/>
        </a:p>
      </dgm:t>
    </dgm:pt>
    <dgm:pt modelId="{A721FAE5-0EF2-4A70-A12D-32078BEAC213}" type="sibTrans" cxnId="{F6E49F48-E7B1-42F9-8194-F5BB5E22F219}">
      <dgm:prSet/>
      <dgm:spPr/>
      <dgm:t>
        <a:bodyPr/>
        <a:lstStyle/>
        <a:p>
          <a:endParaRPr lang="en-US"/>
        </a:p>
      </dgm:t>
    </dgm:pt>
    <dgm:pt modelId="{3C0FB1D6-B71F-4C57-B890-57FD8F1070FC}">
      <dgm:prSet/>
      <dgm:spPr/>
      <dgm:t>
        <a:bodyPr/>
        <a:lstStyle/>
        <a:p>
          <a:r>
            <a:rPr lang="en-US" b="0" i="0" baseline="0"/>
            <a:t>To disable change compatibility level to 150 or lower</a:t>
          </a:r>
          <a:endParaRPr lang="en-US"/>
        </a:p>
      </dgm:t>
    </dgm:pt>
    <dgm:pt modelId="{93314700-DDBA-41BA-858F-20F8AF432AE2}" type="parTrans" cxnId="{E0D9BE18-7B7A-41B4-A5B4-19FB6D2925F6}">
      <dgm:prSet/>
      <dgm:spPr/>
      <dgm:t>
        <a:bodyPr/>
        <a:lstStyle/>
        <a:p>
          <a:endParaRPr lang="en-US"/>
        </a:p>
      </dgm:t>
    </dgm:pt>
    <dgm:pt modelId="{F8275405-D8C4-4A38-A3A5-951677A83D4E}" type="sibTrans" cxnId="{E0D9BE18-7B7A-41B4-A5B4-19FB6D2925F6}">
      <dgm:prSet/>
      <dgm:spPr/>
      <dgm:t>
        <a:bodyPr/>
        <a:lstStyle/>
        <a:p>
          <a:endParaRPr lang="en-US"/>
        </a:p>
      </dgm:t>
    </dgm:pt>
    <dgm:pt modelId="{3029E92F-A0ED-443E-9945-A79F9877D286}" type="pres">
      <dgm:prSet presAssocID="{9BFA158E-C0B2-4491-A478-D35EA9CB2E8C}" presName="Name0" presStyleCnt="0">
        <dgm:presLayoutVars>
          <dgm:dir/>
          <dgm:animLvl val="lvl"/>
          <dgm:resizeHandles val="exact"/>
        </dgm:presLayoutVars>
      </dgm:prSet>
      <dgm:spPr/>
    </dgm:pt>
    <dgm:pt modelId="{241A5484-4A96-4EDC-9934-F352282C89BF}" type="pres">
      <dgm:prSet presAssocID="{7C1BA52E-682C-46B6-B49B-7EAADCFF842C}" presName="linNode" presStyleCnt="0"/>
      <dgm:spPr/>
    </dgm:pt>
    <dgm:pt modelId="{218FD34E-2541-406A-A55B-A25B88950A10}" type="pres">
      <dgm:prSet presAssocID="{7C1BA52E-682C-46B6-B49B-7EAADCFF842C}" presName="parentText" presStyleLbl="node1" presStyleIdx="0" presStyleCnt="3">
        <dgm:presLayoutVars>
          <dgm:chMax val="1"/>
          <dgm:bulletEnabled val="1"/>
        </dgm:presLayoutVars>
      </dgm:prSet>
      <dgm:spPr/>
    </dgm:pt>
    <dgm:pt modelId="{A3722D08-C011-4DD1-8142-126293CB9841}" type="pres">
      <dgm:prSet presAssocID="{7C1BA52E-682C-46B6-B49B-7EAADCFF842C}" presName="descendantText" presStyleLbl="alignAccFollowNode1" presStyleIdx="0" presStyleCnt="3">
        <dgm:presLayoutVars>
          <dgm:bulletEnabled val="1"/>
        </dgm:presLayoutVars>
      </dgm:prSet>
      <dgm:spPr/>
    </dgm:pt>
    <dgm:pt modelId="{1079B47F-E910-472E-BFB1-712B2F8F71B8}" type="pres">
      <dgm:prSet presAssocID="{E7D30D8F-1972-407E-8C57-3E274FF6E093}" presName="sp" presStyleCnt="0"/>
      <dgm:spPr/>
    </dgm:pt>
    <dgm:pt modelId="{ACF41510-0932-42C0-B620-33590FE7B270}" type="pres">
      <dgm:prSet presAssocID="{40E1E09E-7149-49CF-8D93-01B7D31D818C}" presName="linNode" presStyleCnt="0"/>
      <dgm:spPr/>
    </dgm:pt>
    <dgm:pt modelId="{2CEAB421-F7F0-4DBA-8BC0-61523C870BAD}" type="pres">
      <dgm:prSet presAssocID="{40E1E09E-7149-49CF-8D93-01B7D31D818C}" presName="parentText" presStyleLbl="node1" presStyleIdx="1" presStyleCnt="3">
        <dgm:presLayoutVars>
          <dgm:chMax val="1"/>
          <dgm:bulletEnabled val="1"/>
        </dgm:presLayoutVars>
      </dgm:prSet>
      <dgm:spPr/>
    </dgm:pt>
    <dgm:pt modelId="{57B402D0-3813-4A24-A54B-61124215544D}" type="pres">
      <dgm:prSet presAssocID="{40E1E09E-7149-49CF-8D93-01B7D31D818C}" presName="descendantText" presStyleLbl="alignAccFollowNode1" presStyleIdx="1" presStyleCnt="3">
        <dgm:presLayoutVars>
          <dgm:bulletEnabled val="1"/>
        </dgm:presLayoutVars>
      </dgm:prSet>
      <dgm:spPr/>
    </dgm:pt>
    <dgm:pt modelId="{5F59DCC0-1541-44F6-AD31-4BE820AFB986}" type="pres">
      <dgm:prSet presAssocID="{308B6EFB-DF43-4EC2-97C8-A638768B7104}" presName="sp" presStyleCnt="0"/>
      <dgm:spPr/>
    </dgm:pt>
    <dgm:pt modelId="{C8DB75BD-F69F-45A3-B261-5E1876173FFD}" type="pres">
      <dgm:prSet presAssocID="{20B86D46-23F7-4247-8F2A-205EE1B4999A}" presName="linNode" presStyleCnt="0"/>
      <dgm:spPr/>
    </dgm:pt>
    <dgm:pt modelId="{5B24DDF3-44E0-40FF-B14A-8F8A9E374E17}" type="pres">
      <dgm:prSet presAssocID="{20B86D46-23F7-4247-8F2A-205EE1B4999A}" presName="parentText" presStyleLbl="node1" presStyleIdx="2" presStyleCnt="3">
        <dgm:presLayoutVars>
          <dgm:chMax val="1"/>
          <dgm:bulletEnabled val="1"/>
        </dgm:presLayoutVars>
      </dgm:prSet>
      <dgm:spPr/>
    </dgm:pt>
    <dgm:pt modelId="{626A19CE-ED32-4563-82E3-899C299E48A3}" type="pres">
      <dgm:prSet presAssocID="{20B86D46-23F7-4247-8F2A-205EE1B4999A}" presName="descendantText" presStyleLbl="alignAccFollowNode1" presStyleIdx="2" presStyleCnt="3">
        <dgm:presLayoutVars>
          <dgm:bulletEnabled val="1"/>
        </dgm:presLayoutVars>
      </dgm:prSet>
      <dgm:spPr/>
    </dgm:pt>
  </dgm:ptLst>
  <dgm:cxnLst>
    <dgm:cxn modelId="{ECA9CB09-85D4-4B64-93BB-72BBA7EA7B4D}" srcId="{7C1BA52E-682C-46B6-B49B-7EAADCFF842C}" destId="{A966074A-A3EF-484B-8458-43BC88A0DB50}" srcOrd="0" destOrd="0" parTransId="{7669BD68-FAA4-46FB-BD81-DC6E6F1677BD}" sibTransId="{690BA8BF-FA89-412C-81ED-2ED5C321A439}"/>
    <dgm:cxn modelId="{B55F8B0A-1617-4E1C-AAEC-6D68B9CC882C}" type="presOf" srcId="{7193DCC5-7302-4B13-A9E8-625CDA53828D}" destId="{57B402D0-3813-4A24-A54B-61124215544D}" srcOrd="0" destOrd="0" presId="urn:microsoft.com/office/officeart/2005/8/layout/vList5"/>
    <dgm:cxn modelId="{2A9E1010-25CB-4546-ADDD-0B0460197580}" srcId="{40E1E09E-7149-49CF-8D93-01B7D31D818C}" destId="{6575D6B8-BCC1-450A-BB72-AC4D21FBEDDF}" srcOrd="1" destOrd="0" parTransId="{D146F1BE-7003-42F8-97A4-92C859160D3C}" sibTransId="{80E48E7C-9E00-4FBE-9B42-BD6DE0E45480}"/>
    <dgm:cxn modelId="{E0D9BE18-7B7A-41B4-A5B4-19FB6D2925F6}" srcId="{20B86D46-23F7-4247-8F2A-205EE1B4999A}" destId="{3C0FB1D6-B71F-4C57-B890-57FD8F1070FC}" srcOrd="1" destOrd="0" parTransId="{93314700-DDBA-41BA-858F-20F8AF432AE2}" sibTransId="{F8275405-D8C4-4A38-A3A5-951677A83D4E}"/>
    <dgm:cxn modelId="{F6E49F48-E7B1-42F9-8194-F5BB5E22F219}" srcId="{20B86D46-23F7-4247-8F2A-205EE1B4999A}" destId="{B6DF4F87-87DB-4AFB-90CA-95354A3431B8}" srcOrd="0" destOrd="0" parTransId="{23B423A7-0D56-4481-9944-A38F66DE8D65}" sibTransId="{A721FAE5-0EF2-4A70-A12D-32078BEAC213}"/>
    <dgm:cxn modelId="{9C2ACD6C-DD05-497A-9CF1-EA3E02999D9E}" type="presOf" srcId="{7C1BA52E-682C-46B6-B49B-7EAADCFF842C}" destId="{218FD34E-2541-406A-A55B-A25B88950A10}" srcOrd="0" destOrd="0" presId="urn:microsoft.com/office/officeart/2005/8/layout/vList5"/>
    <dgm:cxn modelId="{5B906D4F-DC2A-4923-BE5B-0D5F1CA9E285}" type="presOf" srcId="{A966074A-A3EF-484B-8458-43BC88A0DB50}" destId="{A3722D08-C011-4DD1-8142-126293CB9841}" srcOrd="0" destOrd="0" presId="urn:microsoft.com/office/officeart/2005/8/layout/vList5"/>
    <dgm:cxn modelId="{F8843071-C655-4EB7-9E74-C919BD0EBACD}" type="presOf" srcId="{20B86D46-23F7-4247-8F2A-205EE1B4999A}" destId="{5B24DDF3-44E0-40FF-B14A-8F8A9E374E17}" srcOrd="0" destOrd="0" presId="urn:microsoft.com/office/officeart/2005/8/layout/vList5"/>
    <dgm:cxn modelId="{786F7975-26C1-45BC-946E-BCC73554DEEC}" srcId="{40E1E09E-7149-49CF-8D93-01B7D31D818C}" destId="{7193DCC5-7302-4B13-A9E8-625CDA53828D}" srcOrd="0" destOrd="0" parTransId="{22258A30-BA4D-4845-B054-9712801C8450}" sibTransId="{90AAAE82-89B6-4FF0-84A7-EC6DD96A0C24}"/>
    <dgm:cxn modelId="{34340076-EEC1-4713-A1EE-A4AD81A92CE4}" type="presOf" srcId="{3C0FB1D6-B71F-4C57-B890-57FD8F1070FC}" destId="{626A19CE-ED32-4563-82E3-899C299E48A3}" srcOrd="0" destOrd="1" presId="urn:microsoft.com/office/officeart/2005/8/layout/vList5"/>
    <dgm:cxn modelId="{D609A159-E9FB-4EEA-89F1-C48627213A2E}" type="presOf" srcId="{E125D2A4-CCA8-4E48-8961-B1A8C4B97641}" destId="{A3722D08-C011-4DD1-8142-126293CB9841}" srcOrd="0" destOrd="1" presId="urn:microsoft.com/office/officeart/2005/8/layout/vList5"/>
    <dgm:cxn modelId="{6D9D1B7E-5444-4667-B599-CDE1FBB9ADE4}" srcId="{9BFA158E-C0B2-4491-A478-D35EA9CB2E8C}" destId="{20B86D46-23F7-4247-8F2A-205EE1B4999A}" srcOrd="2" destOrd="0" parTransId="{5AC410F1-AD67-4F11-95D4-7C688F3C0ABA}" sibTransId="{E1ACE809-FC7E-4699-89CF-DE3BB1A12A3D}"/>
    <dgm:cxn modelId="{DD74209F-1E76-4E33-98C7-9543EBFFF07D}" type="presOf" srcId="{9BFA158E-C0B2-4491-A478-D35EA9CB2E8C}" destId="{3029E92F-A0ED-443E-9945-A79F9877D286}" srcOrd="0" destOrd="0" presId="urn:microsoft.com/office/officeart/2005/8/layout/vList5"/>
    <dgm:cxn modelId="{4A173DA5-E61B-4DFB-8CBE-DEFE61F86FBC}" type="presOf" srcId="{40E1E09E-7149-49CF-8D93-01B7D31D818C}" destId="{2CEAB421-F7F0-4DBA-8BC0-61523C870BAD}" srcOrd="0" destOrd="0" presId="urn:microsoft.com/office/officeart/2005/8/layout/vList5"/>
    <dgm:cxn modelId="{4CA5AAA7-C285-4013-A35F-8972361F1590}" srcId="{7C1BA52E-682C-46B6-B49B-7EAADCFF842C}" destId="{E125D2A4-CCA8-4E48-8961-B1A8C4B97641}" srcOrd="1" destOrd="0" parTransId="{70E278DC-E01C-4DF4-A2BE-9F2D0481C884}" sibTransId="{4674537B-B8D1-42D9-8C21-FA1B3F6E877E}"/>
    <dgm:cxn modelId="{A8F19EBF-56A9-4372-AF5A-D912DEA60BC3}" type="presOf" srcId="{6575D6B8-BCC1-450A-BB72-AC4D21FBEDDF}" destId="{57B402D0-3813-4A24-A54B-61124215544D}" srcOrd="0" destOrd="1" presId="urn:microsoft.com/office/officeart/2005/8/layout/vList5"/>
    <dgm:cxn modelId="{0EE34BC9-F720-4A7B-B4E8-3B2F08AEDBB9}" srcId="{9BFA158E-C0B2-4491-A478-D35EA9CB2E8C}" destId="{7C1BA52E-682C-46B6-B49B-7EAADCFF842C}" srcOrd="0" destOrd="0" parTransId="{3C94FEB3-6732-481E-8DA5-5CE9AE085000}" sibTransId="{E7D30D8F-1972-407E-8C57-3E274FF6E093}"/>
    <dgm:cxn modelId="{6F1B27DD-0D9B-469F-9038-F5DFFA07DFF3}" type="presOf" srcId="{B6DF4F87-87DB-4AFB-90CA-95354A3431B8}" destId="{626A19CE-ED32-4563-82E3-899C299E48A3}" srcOrd="0" destOrd="0" presId="urn:microsoft.com/office/officeart/2005/8/layout/vList5"/>
    <dgm:cxn modelId="{480542F7-3BD3-44FE-A2ED-367808B11D91}" srcId="{9BFA158E-C0B2-4491-A478-D35EA9CB2E8C}" destId="{40E1E09E-7149-49CF-8D93-01B7D31D818C}" srcOrd="1" destOrd="0" parTransId="{57206C63-51DF-446B-81F6-C0D61CAB6BF3}" sibTransId="{308B6EFB-DF43-4EC2-97C8-A638768B7104}"/>
    <dgm:cxn modelId="{920E1CF4-DD80-4308-BFBD-29F47C0BBCDA}" type="presParOf" srcId="{3029E92F-A0ED-443E-9945-A79F9877D286}" destId="{241A5484-4A96-4EDC-9934-F352282C89BF}" srcOrd="0" destOrd="0" presId="urn:microsoft.com/office/officeart/2005/8/layout/vList5"/>
    <dgm:cxn modelId="{25315A1F-8D53-4718-A97D-B4469AA0390E}" type="presParOf" srcId="{241A5484-4A96-4EDC-9934-F352282C89BF}" destId="{218FD34E-2541-406A-A55B-A25B88950A10}" srcOrd="0" destOrd="0" presId="urn:microsoft.com/office/officeart/2005/8/layout/vList5"/>
    <dgm:cxn modelId="{12A0DB98-8273-43BF-8BA7-3953CB9ACDE8}" type="presParOf" srcId="{241A5484-4A96-4EDC-9934-F352282C89BF}" destId="{A3722D08-C011-4DD1-8142-126293CB9841}" srcOrd="1" destOrd="0" presId="urn:microsoft.com/office/officeart/2005/8/layout/vList5"/>
    <dgm:cxn modelId="{356C762E-9038-4A7C-96B5-5DA25E3F09B2}" type="presParOf" srcId="{3029E92F-A0ED-443E-9945-A79F9877D286}" destId="{1079B47F-E910-472E-BFB1-712B2F8F71B8}" srcOrd="1" destOrd="0" presId="urn:microsoft.com/office/officeart/2005/8/layout/vList5"/>
    <dgm:cxn modelId="{F1481475-D229-43A3-B152-EF1D2D64D7A5}" type="presParOf" srcId="{3029E92F-A0ED-443E-9945-A79F9877D286}" destId="{ACF41510-0932-42C0-B620-33590FE7B270}" srcOrd="2" destOrd="0" presId="urn:microsoft.com/office/officeart/2005/8/layout/vList5"/>
    <dgm:cxn modelId="{B739D04F-0F3C-4997-921E-20BC285836FC}" type="presParOf" srcId="{ACF41510-0932-42C0-B620-33590FE7B270}" destId="{2CEAB421-F7F0-4DBA-8BC0-61523C870BAD}" srcOrd="0" destOrd="0" presId="urn:microsoft.com/office/officeart/2005/8/layout/vList5"/>
    <dgm:cxn modelId="{01F69B49-1657-4839-91EB-DD8A1DDC2EA5}" type="presParOf" srcId="{ACF41510-0932-42C0-B620-33590FE7B270}" destId="{57B402D0-3813-4A24-A54B-61124215544D}" srcOrd="1" destOrd="0" presId="urn:microsoft.com/office/officeart/2005/8/layout/vList5"/>
    <dgm:cxn modelId="{B09B73CB-D859-4D58-B9E6-5E6A9F66BFEC}" type="presParOf" srcId="{3029E92F-A0ED-443E-9945-A79F9877D286}" destId="{5F59DCC0-1541-44F6-AD31-4BE820AFB986}" srcOrd="3" destOrd="0" presId="urn:microsoft.com/office/officeart/2005/8/layout/vList5"/>
    <dgm:cxn modelId="{3442D170-671D-4CF0-B318-412B904D4416}" type="presParOf" srcId="{3029E92F-A0ED-443E-9945-A79F9877D286}" destId="{C8DB75BD-F69F-45A3-B261-5E1876173FFD}" srcOrd="4" destOrd="0" presId="urn:microsoft.com/office/officeart/2005/8/layout/vList5"/>
    <dgm:cxn modelId="{58D04AA9-E219-4E21-9F90-88F428725AE3}" type="presParOf" srcId="{C8DB75BD-F69F-45A3-B261-5E1876173FFD}" destId="{5B24DDF3-44E0-40FF-B14A-8F8A9E374E17}" srcOrd="0" destOrd="0" presId="urn:microsoft.com/office/officeart/2005/8/layout/vList5"/>
    <dgm:cxn modelId="{48063D14-20ED-4D34-8B32-35072EF7EA53}" type="presParOf" srcId="{C8DB75BD-F69F-45A3-B261-5E1876173FFD}" destId="{626A19CE-ED32-4563-82E3-899C299E48A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3CA82AC-5404-4B6C-9BE4-C3211DCC27D6}" type="asst">
      <dgm:prSet phldrT="[Text]"/>
      <dgm:spPr>
        <a:solidFill>
          <a:schemeClr val="tx2">
            <a:lumMod val="60000"/>
            <a:lumOff val="40000"/>
          </a:schemeClr>
        </a:solidFill>
      </dgm:spPr>
      <dgm:t>
        <a:bodyPr/>
        <a:lstStyle/>
        <a:p>
          <a:r>
            <a:rPr lang="en-US" dirty="0"/>
            <a:t>Optimized Plan Forcing</a:t>
          </a:r>
        </a:p>
      </dgm:t>
    </dgm:pt>
    <dgm:pt modelId="{7CEBE2A4-1BCA-43F7-9303-C9876390EB0C}" type="parTrans" cxnId="{FBC6894D-0D43-4395-976D-9CA619A32989}">
      <dgm:prSet/>
      <dgm:spPr/>
      <dgm:t>
        <a:bodyPr/>
        <a:lstStyle/>
        <a:p>
          <a:endParaRPr lang="en-US"/>
        </a:p>
      </dgm:t>
    </dgm:pt>
    <dgm:pt modelId="{977137EC-A4E9-4B92-9F5C-C7C3E29C2F83}" type="sibTrans" cxnId="{FBC6894D-0D43-4395-976D-9CA619A3298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527B0E77-7EB2-429E-AE69-E261FDCB7833}" type="pres">
      <dgm:prSet presAssocID="{7CEBE2A4-1BCA-43F7-9303-C9876390EB0C}" presName="Name19" presStyleLbl="parChTrans1D2" presStyleIdx="5" presStyleCnt="7"/>
      <dgm:spPr/>
    </dgm:pt>
    <dgm:pt modelId="{0E4D7FF5-C4ED-47AB-8535-5C7B0A383F1F}" type="pres">
      <dgm:prSet presAssocID="{33CA82AC-5404-4B6C-9BE4-C3211DCC27D6}" presName="Name21" presStyleCnt="0"/>
      <dgm:spPr/>
    </dgm:pt>
    <dgm:pt modelId="{60C6DAC9-637D-431F-9AFD-95F84B4698A9}" type="pres">
      <dgm:prSet presAssocID="{33CA82AC-5404-4B6C-9BE4-C3211DCC27D6}" presName="level2Shape" presStyleLbl="asst1" presStyleIdx="6" presStyleCnt="8"/>
      <dgm:spPr/>
    </dgm:pt>
    <dgm:pt modelId="{526051A6-5F18-4055-A9D3-CA6749D9841E}" type="pres">
      <dgm:prSet presAssocID="{33CA82AC-5404-4B6C-9BE4-C3211DCC27D6}"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FBC6894D-0D43-4395-976D-9CA619A32989}" srcId="{EC5624F3-2170-43DC-97A6-A153AC2072F1}" destId="{33CA82AC-5404-4B6C-9BE4-C3211DCC27D6}" srcOrd="5" destOrd="0" parTransId="{7CEBE2A4-1BCA-43F7-9303-C9876390EB0C}" sibTransId="{977137EC-A4E9-4B92-9F5C-C7C3E29C2F83}"/>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66E7E48D-8637-49EB-B728-7A632922E646}" type="presOf" srcId="{7CEBE2A4-1BCA-43F7-9303-C9876390EB0C}" destId="{527B0E77-7EB2-429E-AE69-E261FDCB7833}"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22EDA9F4-206F-42B8-A035-6F1B7BDC4BA8}" type="presOf" srcId="{33CA82AC-5404-4B6C-9BE4-C3211DCC27D6}" destId="{60C6DAC9-637D-431F-9AFD-95F84B4698A9}"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7EFD1CF3-B99A-4A63-B087-A3E4721F3955}" type="presParOf" srcId="{A65EEE17-B142-4395-9440-82681C1ADA87}" destId="{527B0E77-7EB2-429E-AE69-E261FDCB7833}" srcOrd="10" destOrd="0" presId="urn:microsoft.com/office/officeart/2005/8/layout/hierarchy6"/>
    <dgm:cxn modelId="{3F3D8B39-0967-40F5-9E2C-1E79CFE85420}" type="presParOf" srcId="{A65EEE17-B142-4395-9440-82681C1ADA87}" destId="{0E4D7FF5-C4ED-47AB-8535-5C7B0A383F1F}" srcOrd="11" destOrd="0" presId="urn:microsoft.com/office/officeart/2005/8/layout/hierarchy6"/>
    <dgm:cxn modelId="{596FD2EF-18A2-47CF-88E3-E91E01AEC269}" type="presParOf" srcId="{0E4D7FF5-C4ED-47AB-8535-5C7B0A383F1F}" destId="{60C6DAC9-637D-431F-9AFD-95F84B4698A9}" srcOrd="0" destOrd="0" presId="urn:microsoft.com/office/officeart/2005/8/layout/hierarchy6"/>
    <dgm:cxn modelId="{BEC43C64-8327-4D2C-B509-24E2FFB0CCE6}" type="presParOf" srcId="{0E4D7FF5-C4ED-47AB-8535-5C7B0A383F1F}" destId="{526051A6-5F18-4055-A9D3-CA6749D9841E}"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557B519E-C9BC-4B6A-8C3A-617F57A01BFC}" type="pres">
      <dgm:prSet presAssocID="{D84DD7AB-A1C4-4A77-B583-CCF2DADB3362}" presName="Name14" presStyleCnt="0"/>
      <dgm:spPr/>
    </dgm:pt>
    <dgm:pt modelId="{24524685-E485-45BA-9C07-2D1F131398BE}" type="pres">
      <dgm:prSet presAssocID="{D84DD7AB-A1C4-4A77-B583-CCF2DADB3362}" presName="level1Shape" presStyleLbl="node0" presStyleIdx="0" presStyleCnt="1" custLinFactY="51119" custLinFactNeighborX="3948" custLinFactNeighborY="100000">
        <dgm:presLayoutVars>
          <dgm:chPref val="3"/>
        </dgm:presLayoutVars>
      </dgm:prSet>
      <dgm:spPr/>
    </dgm:pt>
    <dgm:pt modelId="{225F7351-5580-4676-AD31-6C2A8632D54D}" type="pres">
      <dgm:prSet presAssocID="{D84DD7AB-A1C4-4A77-B583-CCF2DADB3362}"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713EFD19-EA11-444E-AAE6-060A9CCE48E8}" srcId="{6E762228-84FE-45B2-9BB6-19E98A9BB7EA}" destId="{D84DD7AB-A1C4-4A77-B583-CCF2DADB3362}" srcOrd="0" destOrd="0" parTransId="{9D361AED-F287-426D-889C-035A581FCAD4}" sibTransId="{E3590AD4-F655-4C32-8A76-03F5AA05AA3D}"/>
    <dgm:cxn modelId="{1C7BF462-BEA6-4B18-8335-9AE65C3D9C28}" type="presOf" srcId="{D84DD7AB-A1C4-4A77-B583-CCF2DADB3362}" destId="{24524685-E485-45BA-9C07-2D1F131398BE}"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AC6AA04-EFD5-4605-B3E6-6057EAF53E42}" type="presParOf" srcId="{6349854C-26F9-4527-A34B-FF8105524D97}" destId="{557B519E-C9BC-4B6A-8C3A-617F57A01BFC}" srcOrd="0" destOrd="0" presId="urn:microsoft.com/office/officeart/2005/8/layout/hierarchy6"/>
    <dgm:cxn modelId="{68D4B099-6BD3-4A25-9131-9321A284AE65}" type="presParOf" srcId="{557B519E-C9BC-4B6A-8C3A-617F57A01BFC}" destId="{24524685-E485-45BA-9C07-2D1F131398BE}" srcOrd="0" destOrd="0" presId="urn:microsoft.com/office/officeart/2005/8/layout/hierarchy6"/>
    <dgm:cxn modelId="{3435E2C3-BFA4-4F04-8D00-CFD43F0B4310}" type="presParOf" srcId="{557B519E-C9BC-4B6A-8C3A-617F57A01BFC}" destId="{225F7351-5580-4676-AD31-6C2A8632D54D}"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D8A238-421F-4656-B130-6B36F46ACFB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42998FA-7EA6-4F37-9F88-D0BB9A5DD642}">
      <dgm:prSet/>
      <dgm:spPr/>
      <dgm:t>
        <a:bodyPr/>
        <a:lstStyle/>
        <a:p>
          <a:r>
            <a:rPr lang="en-GB" b="1" dirty="0"/>
            <a:t>Custom options – Insights based upon custom selection: </a:t>
          </a:r>
          <a:endParaRPr lang="en-US" dirty="0"/>
        </a:p>
      </dgm:t>
    </dgm:pt>
    <dgm:pt modelId="{209A8403-A9A5-427A-974D-FB5B6AA98257}" type="parTrans" cxnId="{224640CC-2C11-4993-A6C8-C32C6B7D6372}">
      <dgm:prSet/>
      <dgm:spPr/>
      <dgm:t>
        <a:bodyPr/>
        <a:lstStyle/>
        <a:p>
          <a:endParaRPr lang="en-US"/>
        </a:p>
      </dgm:t>
    </dgm:pt>
    <dgm:pt modelId="{C4886027-B0CD-4693-AD1E-5EFF83F501FC}" type="sibTrans" cxnId="{224640CC-2C11-4993-A6C8-C32C6B7D6372}">
      <dgm:prSet/>
      <dgm:spPr/>
      <dgm:t>
        <a:bodyPr/>
        <a:lstStyle/>
        <a:p>
          <a:endParaRPr lang="en-US"/>
        </a:p>
      </dgm:t>
    </dgm:pt>
    <dgm:pt modelId="{F74FD83C-9677-4547-AC0E-2DA714AF1F41}">
      <dgm:prSet/>
      <dgm:spPr/>
      <dgm:t>
        <a:bodyPr/>
        <a:lstStyle/>
        <a:p>
          <a:r>
            <a:rPr lang="en-GB" b="1" dirty="0"/>
            <a:t>Metric Type</a:t>
          </a:r>
          <a:r>
            <a:rPr lang="en-GB" dirty="0"/>
            <a:t> – CPU , Data IO, Log IO, Duration and Execution Count.</a:t>
          </a:r>
          <a:endParaRPr lang="en-US" dirty="0"/>
        </a:p>
      </dgm:t>
    </dgm:pt>
    <dgm:pt modelId="{7BABA7BB-32E8-43F5-BBA0-16C26E689A66}" type="parTrans" cxnId="{67B6F0FE-5D97-4B7C-9472-E70BE6E030AF}">
      <dgm:prSet/>
      <dgm:spPr/>
      <dgm:t>
        <a:bodyPr/>
        <a:lstStyle/>
        <a:p>
          <a:endParaRPr lang="en-US"/>
        </a:p>
      </dgm:t>
    </dgm:pt>
    <dgm:pt modelId="{57264AC3-AA4A-43A0-B678-368207CAD6E0}" type="sibTrans" cxnId="{67B6F0FE-5D97-4B7C-9472-E70BE6E030AF}">
      <dgm:prSet/>
      <dgm:spPr/>
      <dgm:t>
        <a:bodyPr/>
        <a:lstStyle/>
        <a:p>
          <a:endParaRPr lang="en-US"/>
        </a:p>
      </dgm:t>
    </dgm:pt>
    <dgm:pt modelId="{31A107C8-EDE4-4FFD-8209-47FC3666FA41}">
      <dgm:prSet/>
      <dgm:spPr/>
      <dgm:t>
        <a:bodyPr/>
        <a:lstStyle/>
        <a:p>
          <a:r>
            <a:rPr lang="en-GB" b="1"/>
            <a:t>Time Period</a:t>
          </a:r>
          <a:r>
            <a:rPr lang="en-GB"/>
            <a:t> – Last 6 hrs, Last 24 hrs, Past Week, Past Month and Custom.</a:t>
          </a:r>
          <a:endParaRPr lang="en-US"/>
        </a:p>
      </dgm:t>
    </dgm:pt>
    <dgm:pt modelId="{C0D3EE30-BB7E-49F3-8067-95C7A3D845E7}" type="parTrans" cxnId="{40E07743-FCDF-40A8-B742-24812CE591D8}">
      <dgm:prSet/>
      <dgm:spPr/>
      <dgm:t>
        <a:bodyPr/>
        <a:lstStyle/>
        <a:p>
          <a:endParaRPr lang="en-US"/>
        </a:p>
      </dgm:t>
    </dgm:pt>
    <dgm:pt modelId="{2B19771F-4D25-476C-86EF-D33E0C4D1ECE}" type="sibTrans" cxnId="{40E07743-FCDF-40A8-B742-24812CE591D8}">
      <dgm:prSet/>
      <dgm:spPr/>
      <dgm:t>
        <a:bodyPr/>
        <a:lstStyle/>
        <a:p>
          <a:endParaRPr lang="en-US"/>
        </a:p>
      </dgm:t>
    </dgm:pt>
    <dgm:pt modelId="{8F85E3FD-1CCE-4001-8C5C-180A2B5922CA}">
      <dgm:prSet/>
      <dgm:spPr/>
      <dgm:t>
        <a:bodyPr/>
        <a:lstStyle/>
        <a:p>
          <a:r>
            <a:rPr lang="en-GB" b="1"/>
            <a:t>Number of Queries</a:t>
          </a:r>
          <a:r>
            <a:rPr lang="en-GB"/>
            <a:t> – 5, 10, 20.</a:t>
          </a:r>
          <a:endParaRPr lang="en-US"/>
        </a:p>
      </dgm:t>
    </dgm:pt>
    <dgm:pt modelId="{068DA2CC-2466-4648-8138-BCC658DED4EF}" type="parTrans" cxnId="{B1C5E9BE-BAC8-4B8F-9A16-E8B61B76D606}">
      <dgm:prSet/>
      <dgm:spPr/>
      <dgm:t>
        <a:bodyPr/>
        <a:lstStyle/>
        <a:p>
          <a:endParaRPr lang="en-US"/>
        </a:p>
      </dgm:t>
    </dgm:pt>
    <dgm:pt modelId="{915752A9-F1F7-4AF0-8300-F9F529BC9229}" type="sibTrans" cxnId="{B1C5E9BE-BAC8-4B8F-9A16-E8B61B76D606}">
      <dgm:prSet/>
      <dgm:spPr/>
      <dgm:t>
        <a:bodyPr/>
        <a:lstStyle/>
        <a:p>
          <a:endParaRPr lang="en-US"/>
        </a:p>
      </dgm:t>
    </dgm:pt>
    <dgm:pt modelId="{A80BE00A-49ED-4A58-886A-BBF9EB0EEE5C}">
      <dgm:prSet/>
      <dgm:spPr/>
      <dgm:t>
        <a:bodyPr/>
        <a:lstStyle/>
        <a:p>
          <a:r>
            <a:rPr lang="en-GB" b="1"/>
            <a:t>Aggregation type</a:t>
          </a:r>
          <a:r>
            <a:rPr lang="en-GB"/>
            <a:t> – sum, max and avg.</a:t>
          </a:r>
          <a:endParaRPr lang="en-US"/>
        </a:p>
      </dgm:t>
    </dgm:pt>
    <dgm:pt modelId="{BD50CF0B-E84C-4CAA-B350-256847334EE4}" type="parTrans" cxnId="{25D973D0-3741-4D4B-B9F9-7B019C55A86C}">
      <dgm:prSet/>
      <dgm:spPr/>
      <dgm:t>
        <a:bodyPr/>
        <a:lstStyle/>
        <a:p>
          <a:endParaRPr lang="en-US"/>
        </a:p>
      </dgm:t>
    </dgm:pt>
    <dgm:pt modelId="{04AD9169-6456-4E86-A053-FB830B49A595}" type="sibTrans" cxnId="{25D973D0-3741-4D4B-B9F9-7B019C55A86C}">
      <dgm:prSet/>
      <dgm:spPr/>
      <dgm:t>
        <a:bodyPr/>
        <a:lstStyle/>
        <a:p>
          <a:endParaRPr lang="en-US"/>
        </a:p>
      </dgm:t>
    </dgm:pt>
    <dgm:pt modelId="{DC0A16D1-174B-4CE5-881F-F65F35C6F47C}" type="pres">
      <dgm:prSet presAssocID="{80D8A238-421F-4656-B130-6B36F46ACFBA}" presName="linear" presStyleCnt="0">
        <dgm:presLayoutVars>
          <dgm:animLvl val="lvl"/>
          <dgm:resizeHandles val="exact"/>
        </dgm:presLayoutVars>
      </dgm:prSet>
      <dgm:spPr/>
    </dgm:pt>
    <dgm:pt modelId="{72781041-4575-4982-8D38-B265DE3598A8}" type="pres">
      <dgm:prSet presAssocID="{D42998FA-7EA6-4F37-9F88-D0BB9A5DD642}" presName="parentText" presStyleLbl="node1" presStyleIdx="0" presStyleCnt="1">
        <dgm:presLayoutVars>
          <dgm:chMax val="0"/>
          <dgm:bulletEnabled val="1"/>
        </dgm:presLayoutVars>
      </dgm:prSet>
      <dgm:spPr/>
    </dgm:pt>
    <dgm:pt modelId="{94D23C4D-2C84-4493-8EA9-05A7DAD1F3A9}" type="pres">
      <dgm:prSet presAssocID="{D42998FA-7EA6-4F37-9F88-D0BB9A5DD642}" presName="childText" presStyleLbl="revTx" presStyleIdx="0" presStyleCnt="1">
        <dgm:presLayoutVars>
          <dgm:bulletEnabled val="1"/>
        </dgm:presLayoutVars>
      </dgm:prSet>
      <dgm:spPr/>
    </dgm:pt>
  </dgm:ptLst>
  <dgm:cxnLst>
    <dgm:cxn modelId="{40E07743-FCDF-40A8-B742-24812CE591D8}" srcId="{D42998FA-7EA6-4F37-9F88-D0BB9A5DD642}" destId="{31A107C8-EDE4-4FFD-8209-47FC3666FA41}" srcOrd="1" destOrd="0" parTransId="{C0D3EE30-BB7E-49F3-8067-95C7A3D845E7}" sibTransId="{2B19771F-4D25-476C-86EF-D33E0C4D1ECE}"/>
    <dgm:cxn modelId="{EABA174A-09F6-4A5A-9D34-803865363B4A}" type="presOf" srcId="{A80BE00A-49ED-4A58-886A-BBF9EB0EEE5C}" destId="{94D23C4D-2C84-4493-8EA9-05A7DAD1F3A9}" srcOrd="0" destOrd="3" presId="urn:microsoft.com/office/officeart/2005/8/layout/vList2"/>
    <dgm:cxn modelId="{29469881-E124-41BF-80D8-E00FAE9BA8B8}" type="presOf" srcId="{D42998FA-7EA6-4F37-9F88-D0BB9A5DD642}" destId="{72781041-4575-4982-8D38-B265DE3598A8}" srcOrd="0" destOrd="0" presId="urn:microsoft.com/office/officeart/2005/8/layout/vList2"/>
    <dgm:cxn modelId="{05A50D8D-0E63-474F-BCBA-58ACB0245064}" type="presOf" srcId="{31A107C8-EDE4-4FFD-8209-47FC3666FA41}" destId="{94D23C4D-2C84-4493-8EA9-05A7DAD1F3A9}" srcOrd="0" destOrd="1" presId="urn:microsoft.com/office/officeart/2005/8/layout/vList2"/>
    <dgm:cxn modelId="{88CE77AF-D18E-4E8C-B141-6437CC5C9032}" type="presOf" srcId="{8F85E3FD-1CCE-4001-8C5C-180A2B5922CA}" destId="{94D23C4D-2C84-4493-8EA9-05A7DAD1F3A9}" srcOrd="0" destOrd="2" presId="urn:microsoft.com/office/officeart/2005/8/layout/vList2"/>
    <dgm:cxn modelId="{B1C5E9BE-BAC8-4B8F-9A16-E8B61B76D606}" srcId="{D42998FA-7EA6-4F37-9F88-D0BB9A5DD642}" destId="{8F85E3FD-1CCE-4001-8C5C-180A2B5922CA}" srcOrd="2" destOrd="0" parTransId="{068DA2CC-2466-4648-8138-BCC658DED4EF}" sibTransId="{915752A9-F1F7-4AF0-8300-F9F529BC9229}"/>
    <dgm:cxn modelId="{65AABEC2-09DF-49BA-AC1B-3CCB78922CFC}" type="presOf" srcId="{80D8A238-421F-4656-B130-6B36F46ACFBA}" destId="{DC0A16D1-174B-4CE5-881F-F65F35C6F47C}" srcOrd="0" destOrd="0" presId="urn:microsoft.com/office/officeart/2005/8/layout/vList2"/>
    <dgm:cxn modelId="{224640CC-2C11-4993-A6C8-C32C6B7D6372}" srcId="{80D8A238-421F-4656-B130-6B36F46ACFBA}" destId="{D42998FA-7EA6-4F37-9F88-D0BB9A5DD642}" srcOrd="0" destOrd="0" parTransId="{209A8403-A9A5-427A-974D-FB5B6AA98257}" sibTransId="{C4886027-B0CD-4693-AD1E-5EFF83F501FC}"/>
    <dgm:cxn modelId="{25D973D0-3741-4D4B-B9F9-7B019C55A86C}" srcId="{D42998FA-7EA6-4F37-9F88-D0BB9A5DD642}" destId="{A80BE00A-49ED-4A58-886A-BBF9EB0EEE5C}" srcOrd="3" destOrd="0" parTransId="{BD50CF0B-E84C-4CAA-B350-256847334EE4}" sibTransId="{04AD9169-6456-4E86-A053-FB830B49A595}"/>
    <dgm:cxn modelId="{FA078CFC-7D0C-48B1-99DA-784FD54627F9}" type="presOf" srcId="{F74FD83C-9677-4547-AC0E-2DA714AF1F41}" destId="{94D23C4D-2C84-4493-8EA9-05A7DAD1F3A9}" srcOrd="0" destOrd="0" presId="urn:microsoft.com/office/officeart/2005/8/layout/vList2"/>
    <dgm:cxn modelId="{67B6F0FE-5D97-4B7C-9472-E70BE6E030AF}" srcId="{D42998FA-7EA6-4F37-9F88-D0BB9A5DD642}" destId="{F74FD83C-9677-4547-AC0E-2DA714AF1F41}" srcOrd="0" destOrd="0" parTransId="{7BABA7BB-32E8-43F5-BBA0-16C26E689A66}" sibTransId="{57264AC3-AA4A-43A0-B678-368207CAD6E0}"/>
    <dgm:cxn modelId="{DB63B788-9C5F-4A76-811E-F5D512B6C1FC}" type="presParOf" srcId="{DC0A16D1-174B-4CE5-881F-F65F35C6F47C}" destId="{72781041-4575-4982-8D38-B265DE3598A8}" srcOrd="0" destOrd="0" presId="urn:microsoft.com/office/officeart/2005/8/layout/vList2"/>
    <dgm:cxn modelId="{BA871F21-47C8-4B92-AD7B-A8AF136A0C9B}" type="presParOf" srcId="{DC0A16D1-174B-4CE5-881F-F65F35C6F47C}" destId="{94D23C4D-2C84-4493-8EA9-05A7DAD1F3A9}" srcOrd="1"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128B2857-AC0A-45BF-94EC-01454BF72CDD}" type="pres">
      <dgm:prSet presAssocID="{8277FB8B-9D39-4CC5-BDEC-D3827308642F}" presName="Name14" presStyleCnt="0"/>
      <dgm:spPr/>
    </dgm:pt>
    <dgm:pt modelId="{2ABDA745-5382-416E-B7FA-146567ED0DED}" type="pres">
      <dgm:prSet presAssocID="{8277FB8B-9D39-4CC5-BDEC-D3827308642F}" presName="level1Shape" presStyleLbl="node0" presStyleIdx="0" presStyleCnt="1">
        <dgm:presLayoutVars>
          <dgm:chPref val="3"/>
        </dgm:presLayoutVars>
      </dgm:prSet>
      <dgm:spPr/>
    </dgm:pt>
    <dgm:pt modelId="{5E4EEF63-9210-4109-AC75-F9417AEAFDEF}" type="pres">
      <dgm:prSet presAssocID="{8277FB8B-9D39-4CC5-BDEC-D3827308642F}"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47550056-B9BF-42F2-A85B-C9B36B21E767}" srcId="{6E762228-84FE-45B2-9BB6-19E98A9BB7EA}" destId="{8277FB8B-9D39-4CC5-BDEC-D3827308642F}" srcOrd="0" destOrd="0" parTransId="{69703607-1CEF-4962-A22B-C8239D13F2F4}" sibTransId="{B7F48C3C-2138-401F-8EBB-A2B410C5EF6D}"/>
    <dgm:cxn modelId="{6BA98FE9-67FD-4410-8397-85EA5C3AD92B}" type="presOf" srcId="{8277FB8B-9D39-4CC5-BDEC-D3827308642F}" destId="{2ABDA745-5382-416E-B7FA-146567ED0DED}"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AB8A414-DDCF-4E6F-A912-D2341A16BDF2}" type="presParOf" srcId="{6349854C-26F9-4527-A34B-FF8105524D97}" destId="{128B2857-AC0A-45BF-94EC-01454BF72CDD}" srcOrd="0" destOrd="0" presId="urn:microsoft.com/office/officeart/2005/8/layout/hierarchy6"/>
    <dgm:cxn modelId="{41C9AEC0-507F-480D-A323-9A380747179A}" type="presParOf" srcId="{128B2857-AC0A-45BF-94EC-01454BF72CDD}" destId="{2ABDA745-5382-416E-B7FA-146567ED0DED}" srcOrd="0" destOrd="0" presId="urn:microsoft.com/office/officeart/2005/8/layout/hierarchy6"/>
    <dgm:cxn modelId="{A0F143CF-2C61-4248-88E9-449A41E2542D}" type="presParOf" srcId="{128B2857-AC0A-45BF-94EC-01454BF72CDD}" destId="{5E4EEF63-9210-4109-AC75-F9417AEAFDEF}"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FE5A3D51-3C08-4DB9-99E3-39C94436AA5B}" type="asst">
      <dgm:prSet phldrT="[Text]"/>
      <dgm:spPr/>
      <dgm:t>
        <a:bodyPr/>
        <a:lstStyle/>
        <a:p>
          <a:r>
            <a:rPr lang="en-US" dirty="0"/>
            <a:t>Memory Grant Feedback (Batch Mode)</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4BF636BB-726E-47F6-B3D4-53568E68943A}" type="pres">
      <dgm:prSet presAssocID="{FE5A3D51-3C08-4DB9-99E3-39C94436AA5B}" presName="Name14" presStyleCnt="0"/>
      <dgm:spPr/>
    </dgm:pt>
    <dgm:pt modelId="{1148D2CF-C3B8-48C4-8FA0-8E7CB44BB97D}" type="pres">
      <dgm:prSet presAssocID="{FE5A3D51-3C08-4DB9-99E3-39C94436AA5B}" presName="level1Shape" presStyleLbl="node0" presStyleIdx="0" presStyleCnt="1">
        <dgm:presLayoutVars>
          <dgm:chPref val="3"/>
        </dgm:presLayoutVars>
      </dgm:prSet>
      <dgm:spPr/>
    </dgm:pt>
    <dgm:pt modelId="{7CB31BA8-470C-40FA-8223-37076F646AAA}" type="pres">
      <dgm:prSet presAssocID="{FE5A3D51-3C08-4DB9-99E3-39C94436AA5B}"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0CEB1D1A-185D-41D7-BD0D-D5B9610F09A6}" srcId="{6E762228-84FE-45B2-9BB6-19E98A9BB7EA}" destId="{FE5A3D51-3C08-4DB9-99E3-39C94436AA5B}" srcOrd="0" destOrd="0" parTransId="{3A2A32F0-C73D-42A0-BA11-AFA02ABE79C2}" sibTransId="{0F8254DD-18D7-4A6C-835F-A13BA5A1ABF4}"/>
    <dgm:cxn modelId="{96053050-7841-4C65-9E5F-5B7086186D8F}" type="presOf" srcId="{FE5A3D51-3C08-4DB9-99E3-39C94436AA5B}" destId="{1148D2CF-C3B8-48C4-8FA0-8E7CB44BB97D}"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0F81B42-651B-42D6-A84D-7034B439A3D4}" type="presParOf" srcId="{6349854C-26F9-4527-A34B-FF8105524D97}" destId="{4BF636BB-726E-47F6-B3D4-53568E68943A}" srcOrd="0" destOrd="0" presId="urn:microsoft.com/office/officeart/2005/8/layout/hierarchy6"/>
    <dgm:cxn modelId="{F9F4DDA3-EC51-4FCD-92D5-48BCEC524DC1}" type="presParOf" srcId="{4BF636BB-726E-47F6-B3D4-53568E68943A}" destId="{1148D2CF-C3B8-48C4-8FA0-8E7CB44BB97D}" srcOrd="0" destOrd="0" presId="urn:microsoft.com/office/officeart/2005/8/layout/hierarchy6"/>
    <dgm:cxn modelId="{431C3F60-3A92-46DB-A4CE-FE07C4036262}" type="presParOf" srcId="{4BF636BB-726E-47F6-B3D4-53568E68943A}" destId="{7CB31BA8-470C-40FA-8223-37076F646AAA}"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5"/>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5"/>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5"/>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2"/>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5"/>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2"/>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5"/>
      <dgm:spPr/>
    </dgm:pt>
    <dgm:pt modelId="{34466C55-A8A8-4DB4-8BA4-2C99EE2E2FCD}" type="pres">
      <dgm:prSet presAssocID="{CCF9C9C3-9436-4F08-BECE-72E8B6AFA431}"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Memory Grant Feedback (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B7281C6-F6A2-4A70-9C46-C0C63CAD98BF}" type="pres">
      <dgm:prSet presAssocID="{CCF9C9C3-9436-4F08-BECE-72E8B6AFA431}" presName="Name14" presStyleCnt="0"/>
      <dgm:spPr/>
    </dgm:pt>
    <dgm:pt modelId="{386F9DF0-398B-4E24-817D-DCB130C0B943}" type="pres">
      <dgm:prSet presAssocID="{CCF9C9C3-9436-4F08-BECE-72E8B6AFA431}" presName="level1Shape" presStyleLbl="node0" presStyleIdx="0" presStyleCnt="1" custLinFactNeighborX="-7560" custLinFactNeighborY="66236">
        <dgm:presLayoutVars>
          <dgm:chPref val="3"/>
        </dgm:presLayoutVars>
      </dgm:prSet>
      <dgm:spPr/>
    </dgm:pt>
    <dgm:pt modelId="{2BFC8FD5-ED35-4F1F-818A-B2F9FFF50705}" type="pres">
      <dgm:prSet presAssocID="{CCF9C9C3-9436-4F08-BECE-72E8B6AFA43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9EB64F24-D344-40D5-82AE-82764E782499}" srcId="{6E762228-84FE-45B2-9BB6-19E98A9BB7EA}" destId="{CCF9C9C3-9436-4F08-BECE-72E8B6AFA431}" srcOrd="0" destOrd="0" parTransId="{0FFC0143-DFCF-487A-8E06-4BFBBA87A847}" sibTransId="{C456548D-3730-4DA1-AE57-94C2B5144C9E}"/>
    <dgm:cxn modelId="{D8E1A8CB-7D95-497B-B6C4-39A1DE078E92}" type="presOf" srcId="{CCF9C9C3-9436-4F08-BECE-72E8B6AFA431}" destId="{386F9DF0-398B-4E24-817D-DCB130C0B943}"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407C468-5756-4CF8-A4E6-A14C970C17A2}" type="presParOf" srcId="{6349854C-26F9-4527-A34B-FF8105524D97}" destId="{2B7281C6-F6A2-4A70-9C46-C0C63CAD98BF}" srcOrd="0" destOrd="0" presId="urn:microsoft.com/office/officeart/2005/8/layout/hierarchy6"/>
    <dgm:cxn modelId="{DC9FFAF1-3745-4F65-8083-82A3051F8B3E}" type="presParOf" srcId="{2B7281C6-F6A2-4A70-9C46-C0C63CAD98BF}" destId="{386F9DF0-398B-4E24-817D-DCB130C0B943}" srcOrd="0" destOrd="0" presId="urn:microsoft.com/office/officeart/2005/8/layout/hierarchy6"/>
    <dgm:cxn modelId="{AE0F5274-7940-44D0-BE9E-D1A9DB177FD0}" type="presParOf" srcId="{2B7281C6-F6A2-4A70-9C46-C0C63CAD98BF}" destId="{2BFC8FD5-ED35-4F1F-818A-B2F9FFF5070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chemeClr val="tx2">
            <a:lumMod val="60000"/>
            <a:lumOff val="40000"/>
          </a:schemeClr>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chemeClr val="tx2">
            <a:lumMod val="60000"/>
            <a:lumOff val="40000"/>
          </a:schemeClr>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chemeClr val="tx2">
            <a:lumMod val="60000"/>
            <a:lumOff val="40000"/>
          </a:schemeClr>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custScaleX="99701"/>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b="1" dirty="0"/>
            <a:t>Problem</a:t>
          </a:r>
          <a:r>
            <a:rPr lang="en-US" dirty="0"/>
            <a:t>: Cache Eviction</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4E8D47F9-FE34-4FAF-A367-F196B376B973}">
      <dgm:prSet phldrT="[Text]" phldr="0"/>
      <dgm:spPr/>
      <dgm:t>
        <a:bodyPr/>
        <a:lstStyle/>
        <a:p>
          <a:r>
            <a:rPr lang="en-US" dirty="0"/>
            <a:t>Feedback is not persisted if the plan is evicted from cache or failover</a:t>
          </a:r>
        </a:p>
      </dgm:t>
    </dgm:pt>
    <dgm:pt modelId="{1E3C7AB8-1C23-4A00-8DE4-321D8EA0C88E}" type="sibTrans" cxnId="{088202BB-006D-40C0-B259-651812E31676}">
      <dgm:prSet/>
      <dgm:spPr/>
      <dgm:t>
        <a:bodyPr/>
        <a:lstStyle/>
        <a:p>
          <a:endParaRPr lang="en-US"/>
        </a:p>
      </dgm:t>
    </dgm:pt>
    <dgm:pt modelId="{91571845-7B66-4F17-A30F-025308713C63}" type="parTrans" cxnId="{088202BB-006D-40C0-B259-651812E31676}">
      <dgm:prSet/>
      <dgm:spPr/>
      <dgm:t>
        <a:bodyPr/>
        <a:lstStyle/>
        <a:p>
          <a:endParaRPr lang="en-US"/>
        </a:p>
      </dgm:t>
    </dgm:pt>
    <dgm:pt modelId="{3AFF19C7-4FB7-4981-963D-FB9B0279F4D0}">
      <dgm:prSet phldrT="[Text]" phldr="0"/>
      <dgm:spPr/>
      <dgm:t>
        <a:bodyPr/>
        <a:lstStyle/>
        <a:p>
          <a:r>
            <a:rPr lang="en-US" b="1" dirty="0"/>
            <a:t>Solution</a:t>
          </a:r>
          <a:r>
            <a:rPr lang="en-US" dirty="0"/>
            <a:t>: Persist the feedback</a:t>
          </a:r>
        </a:p>
      </dgm:t>
    </dgm:pt>
    <dgm:pt modelId="{62A27C36-1C92-466C-B34E-C1CEE9C58A9D}" type="sibTrans" cxnId="{2E38E30E-9964-4762-97CE-187452CD21A7}">
      <dgm:prSet/>
      <dgm:spPr/>
      <dgm:t>
        <a:bodyPr/>
        <a:lstStyle/>
        <a:p>
          <a:endParaRPr lang="en-US"/>
        </a:p>
      </dgm:t>
    </dgm:pt>
    <dgm:pt modelId="{D1429087-B8B3-4203-9EC2-F38E7180D623}" type="parTrans" cxnId="{2E38E30E-9964-4762-97CE-187452CD21A7}">
      <dgm:prSet/>
      <dgm:spPr/>
      <dgm:t>
        <a:bodyPr/>
        <a:lstStyle/>
        <a:p>
          <a:endParaRPr lang="en-US"/>
        </a:p>
      </dgm:t>
    </dgm:pt>
    <dgm:pt modelId="{1A5DC024-C98D-41AC-934B-0F9055B82568}">
      <dgm:prSet phldrT="[Text]" phldr="0"/>
      <dgm:spPr/>
      <dgm:t>
        <a:bodyPr/>
        <a:lstStyle/>
        <a:p>
          <a:r>
            <a:rPr lang="en-US" dirty="0"/>
            <a:t>Persist the memory grant feedback in the Query Store</a:t>
          </a:r>
        </a:p>
      </dgm:t>
    </dgm:pt>
    <dgm:pt modelId="{EF2650D1-43E7-4C51-8A3E-0B42066783AF}" type="sibTrans" cxnId="{95016AE8-7DF7-42F3-A62A-DE0E7C123201}">
      <dgm:prSet/>
      <dgm:spPr/>
      <dgm:t>
        <a:bodyPr/>
        <a:lstStyle/>
        <a:p>
          <a:endParaRPr lang="en-US"/>
        </a:p>
      </dgm:t>
    </dgm:pt>
    <dgm:pt modelId="{F3469BB2-0E36-4A27-9F3C-05231FFDA38E}" type="parTrans" cxnId="{95016AE8-7DF7-42F3-A62A-DE0E7C123201}">
      <dgm:prSet/>
      <dgm:spPr/>
      <dgm:t>
        <a:bodyPr/>
        <a:lstStyle/>
        <a:p>
          <a:endParaRPr lang="en-US"/>
        </a:p>
      </dgm:t>
    </dgm:pt>
    <dgm:pt modelId="{4F600090-5BAB-473F-B334-3A385E20ACEA}">
      <dgm:prSet phldrT="[Text]" phldr="0"/>
      <dgm:spPr/>
      <dgm:t>
        <a:bodyPr/>
        <a:lstStyle/>
        <a:p>
          <a:r>
            <a:rPr lang="en-US" dirty="0"/>
            <a:t>Record of how to adjust memory is lost and must re-learn</a:t>
          </a:r>
        </a:p>
      </dgm:t>
    </dgm:pt>
    <dgm:pt modelId="{C138B3FA-E70C-47D7-9DA9-29CCB72ADC84}" type="parTrans" cxnId="{2B3CFE18-2649-4DA7-BD88-1D36C1AC94A8}">
      <dgm:prSet/>
      <dgm:spPr/>
      <dgm:t>
        <a:bodyPr/>
        <a:lstStyle/>
        <a:p>
          <a:endParaRPr lang="en-US"/>
        </a:p>
      </dgm:t>
    </dgm:pt>
    <dgm:pt modelId="{36A8EB91-5E96-4EB3-9D9F-FA9755855675}" type="sibTrans" cxnId="{2B3CFE18-2649-4DA7-BD88-1D36C1AC94A8}">
      <dgm:prSet/>
      <dgm:spPr/>
      <dgm:t>
        <a:bodyPr/>
        <a:lstStyle/>
        <a:p>
          <a:endParaRPr lang="en-US"/>
        </a:p>
      </dgm:t>
    </dgm:pt>
    <dgm:pt modelId="{5ED34BAA-C7E5-4066-9CD9-FA970AFF11AF}">
      <dgm:prSet phldrT="[Text]" phldr="0"/>
      <dgm:spPr/>
      <dgm:t>
        <a:bodyPr/>
        <a:lstStyle/>
        <a:p>
          <a:r>
            <a:rPr lang="en-US" b="1" dirty="0"/>
            <a:t>Problem</a:t>
          </a:r>
          <a:r>
            <a:rPr lang="en-US" dirty="0"/>
            <a:t>: Oscillating Feedback</a:t>
          </a:r>
        </a:p>
      </dgm:t>
    </dgm:pt>
    <dgm:pt modelId="{E3E71965-52C6-47F1-AF69-907C59905B88}" type="parTrans" cxnId="{7BA81A32-85DB-4B84-947A-DF8399A53FB2}">
      <dgm:prSet/>
      <dgm:spPr/>
      <dgm:t>
        <a:bodyPr/>
        <a:lstStyle/>
        <a:p>
          <a:endParaRPr lang="en-US"/>
        </a:p>
      </dgm:t>
    </dgm:pt>
    <dgm:pt modelId="{F5EBE247-AFE9-4A75-BBB3-FF02AE451022}" type="sibTrans" cxnId="{7BA81A32-85DB-4B84-947A-DF8399A53FB2}">
      <dgm:prSet/>
      <dgm:spPr/>
      <dgm:t>
        <a:bodyPr/>
        <a:lstStyle/>
        <a:p>
          <a:endParaRPr lang="en-US"/>
        </a:p>
      </dgm:t>
    </dgm:pt>
    <dgm:pt modelId="{10D1CA0D-6AEE-4CBF-AE7F-8F87F4944674}">
      <dgm:prSet phldrT="[Text]" phldr="0"/>
      <dgm:spPr/>
      <dgm:t>
        <a:bodyPr/>
        <a:lstStyle/>
        <a:p>
          <a:r>
            <a:rPr lang="en-US" dirty="0"/>
            <a:t>Memory grants adjusted based on last feedback</a:t>
          </a:r>
        </a:p>
      </dgm:t>
    </dgm:pt>
    <dgm:pt modelId="{9177F9DA-1FEE-47EA-991F-A0DED8F64912}" type="parTrans" cxnId="{1957B794-5724-4C52-AC9F-28EFE61109FD}">
      <dgm:prSet/>
      <dgm:spPr/>
      <dgm:t>
        <a:bodyPr/>
        <a:lstStyle/>
        <a:p>
          <a:endParaRPr lang="en-US"/>
        </a:p>
      </dgm:t>
    </dgm:pt>
    <dgm:pt modelId="{0B4C71E5-53A6-462E-95AC-3D0D1578DB6B}" type="sibTrans" cxnId="{1957B794-5724-4C52-AC9F-28EFE61109FD}">
      <dgm:prSet/>
      <dgm:spPr/>
      <dgm:t>
        <a:bodyPr/>
        <a:lstStyle/>
        <a:p>
          <a:endParaRPr lang="en-US"/>
        </a:p>
      </dgm:t>
    </dgm:pt>
    <dgm:pt modelId="{74BB1DAA-6247-4D77-A12F-F1E51A02E086}">
      <dgm:prSet phldrT="[Text]" phldr="0"/>
      <dgm:spPr/>
      <dgm:t>
        <a:bodyPr/>
        <a:lstStyle/>
        <a:p>
          <a:r>
            <a:rPr lang="en-US" dirty="0"/>
            <a:t>Parameter Sensitive Plans could change feedback </a:t>
          </a:r>
        </a:p>
      </dgm:t>
    </dgm:pt>
    <dgm:pt modelId="{C64427C3-B6B3-4153-B517-876A25B3A1F1}" type="parTrans" cxnId="{00B9A298-1454-4A73-9C23-47E51CAD824D}">
      <dgm:prSet/>
      <dgm:spPr/>
      <dgm:t>
        <a:bodyPr/>
        <a:lstStyle/>
        <a:p>
          <a:endParaRPr lang="en-US"/>
        </a:p>
      </dgm:t>
    </dgm:pt>
    <dgm:pt modelId="{A9390738-1204-4B82-BA1D-CF13C5CAF3D1}" type="sibTrans" cxnId="{00B9A298-1454-4A73-9C23-47E51CAD824D}">
      <dgm:prSet/>
      <dgm:spPr/>
      <dgm:t>
        <a:bodyPr/>
        <a:lstStyle/>
        <a:p>
          <a:endParaRPr lang="en-US"/>
        </a:p>
      </dgm:t>
    </dgm:pt>
    <dgm:pt modelId="{AFA84A42-A7DF-43B6-BCED-687E85E14A3F}">
      <dgm:prSet phldrT="[Text]" phldr="0"/>
      <dgm:spPr/>
      <dgm:t>
        <a:bodyPr/>
        <a:lstStyle/>
        <a:p>
          <a:r>
            <a:rPr lang="en-US" b="1" dirty="0"/>
            <a:t>Solution</a:t>
          </a:r>
          <a:r>
            <a:rPr lang="en-US" dirty="0"/>
            <a:t>: Percentile-based calculation</a:t>
          </a:r>
        </a:p>
      </dgm:t>
    </dgm:pt>
    <dgm:pt modelId="{0BB7A3CF-C5BF-466E-843A-5867BC833EBC}" type="parTrans" cxnId="{B743F88F-D4D4-47BD-B068-E41891CB4A4C}">
      <dgm:prSet/>
      <dgm:spPr/>
      <dgm:t>
        <a:bodyPr/>
        <a:lstStyle/>
        <a:p>
          <a:endParaRPr lang="en-US"/>
        </a:p>
      </dgm:t>
    </dgm:pt>
    <dgm:pt modelId="{35BC54AD-169E-4496-BCEC-C06B39BC29CD}" type="sibTrans" cxnId="{B743F88F-D4D4-47BD-B068-E41891CB4A4C}">
      <dgm:prSet/>
      <dgm:spPr/>
      <dgm:t>
        <a:bodyPr/>
        <a:lstStyle/>
        <a:p>
          <a:endParaRPr lang="en-US"/>
        </a:p>
      </dgm:t>
    </dgm:pt>
    <dgm:pt modelId="{B88D9BD3-56D5-4B11-9BC4-BF863CAB3DBF}">
      <dgm:prSet phldrT="[Text]" phldr="0"/>
      <dgm:spPr/>
      <dgm:t>
        <a:bodyPr/>
        <a:lstStyle/>
        <a:p>
          <a:r>
            <a:rPr lang="en-US" dirty="0"/>
            <a:t>Smooths the grant size values based on execution usage history</a:t>
          </a:r>
        </a:p>
      </dgm:t>
    </dgm:pt>
    <dgm:pt modelId="{317B1E93-C5B8-437E-AB70-965E240DCDBF}" type="parTrans" cxnId="{F68E4702-2BD3-42FE-B95E-3126DB3E91B9}">
      <dgm:prSet/>
      <dgm:spPr/>
      <dgm:t>
        <a:bodyPr/>
        <a:lstStyle/>
        <a:p>
          <a:endParaRPr lang="en-US"/>
        </a:p>
      </dgm:t>
    </dgm:pt>
    <dgm:pt modelId="{7981D048-8177-4976-9C22-C96006E42AD3}" type="sibTrans" cxnId="{F68E4702-2BD3-42FE-B95E-3126DB3E91B9}">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0" presStyleCnt="4"/>
      <dgm:spPr/>
    </dgm:pt>
    <dgm:pt modelId="{89DAF6F2-441E-411B-A709-5BCA0EF94829}" type="pres">
      <dgm:prSet presAssocID="{FE5806CA-90C0-4767-B9A2-2F5EE4877C19}" presName="parentText" presStyleLbl="node1" presStyleIdx="0" presStyleCnt="4">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0" presStyleCnt="4">
        <dgm:presLayoutVars>
          <dgm:bulletEnabled val="1"/>
        </dgm:presLayoutVars>
      </dgm:prSet>
      <dgm:spPr/>
    </dgm:pt>
    <dgm:pt modelId="{F7B24473-248A-4D66-A263-673091B41BFD}" type="pres">
      <dgm:prSet presAssocID="{8AD0F6F7-C0C1-40C9-ADA4-898FCFDD45FD}" presName="spaceBetweenRectangles" presStyleCnt="0"/>
      <dgm:spPr/>
    </dgm:pt>
    <dgm:pt modelId="{C3B92B33-30E9-4FED-9EB0-7361FC75A8B0}" type="pres">
      <dgm:prSet presAssocID="{3AFF19C7-4FB7-4981-963D-FB9B0279F4D0}" presName="parentLin" presStyleCnt="0"/>
      <dgm:spPr/>
    </dgm:pt>
    <dgm:pt modelId="{D7014629-DD70-4396-AF84-AB072E1F3799}" type="pres">
      <dgm:prSet presAssocID="{3AFF19C7-4FB7-4981-963D-FB9B0279F4D0}" presName="parentLeftMargin" presStyleLbl="node1" presStyleIdx="0" presStyleCnt="4"/>
      <dgm:spPr/>
    </dgm:pt>
    <dgm:pt modelId="{6B0312C1-241B-43B9-994D-378BC3536E11}" type="pres">
      <dgm:prSet presAssocID="{3AFF19C7-4FB7-4981-963D-FB9B0279F4D0}" presName="parentText" presStyleLbl="node1" presStyleIdx="1" presStyleCnt="4">
        <dgm:presLayoutVars>
          <dgm:chMax val="0"/>
          <dgm:bulletEnabled val="1"/>
        </dgm:presLayoutVars>
      </dgm:prSet>
      <dgm:spPr/>
    </dgm:pt>
    <dgm:pt modelId="{FAE20AE1-8295-4B87-BBB7-1BD195346232}" type="pres">
      <dgm:prSet presAssocID="{3AFF19C7-4FB7-4981-963D-FB9B0279F4D0}" presName="negativeSpace" presStyleCnt="0"/>
      <dgm:spPr/>
    </dgm:pt>
    <dgm:pt modelId="{E70FDF43-97D4-43F1-A166-CC843657E64A}" type="pres">
      <dgm:prSet presAssocID="{3AFF19C7-4FB7-4981-963D-FB9B0279F4D0}" presName="childText" presStyleLbl="conFgAcc1" presStyleIdx="1" presStyleCnt="4">
        <dgm:presLayoutVars>
          <dgm:bulletEnabled val="1"/>
        </dgm:presLayoutVars>
      </dgm:prSet>
      <dgm:spPr/>
    </dgm:pt>
    <dgm:pt modelId="{AA977560-ADBD-4641-8BB8-9AA80FE5EC2D}" type="pres">
      <dgm:prSet presAssocID="{62A27C36-1C92-466C-B34E-C1CEE9C58A9D}" presName="spaceBetweenRectangles" presStyleCnt="0"/>
      <dgm:spPr/>
    </dgm:pt>
    <dgm:pt modelId="{3E2BB336-47B5-40A2-84E6-14A9FEC3DE0E}" type="pres">
      <dgm:prSet presAssocID="{5ED34BAA-C7E5-4066-9CD9-FA970AFF11AF}" presName="parentLin" presStyleCnt="0"/>
      <dgm:spPr/>
    </dgm:pt>
    <dgm:pt modelId="{27473D55-6DA4-49E2-9A7B-A2710FEA6ECB}" type="pres">
      <dgm:prSet presAssocID="{5ED34BAA-C7E5-4066-9CD9-FA970AFF11AF}" presName="parentLeftMargin" presStyleLbl="node1" presStyleIdx="1" presStyleCnt="4"/>
      <dgm:spPr/>
    </dgm:pt>
    <dgm:pt modelId="{4A5C3DE5-1DE8-48D4-9600-4DF71555FC36}" type="pres">
      <dgm:prSet presAssocID="{5ED34BAA-C7E5-4066-9CD9-FA970AFF11AF}" presName="parentText" presStyleLbl="node1" presStyleIdx="2" presStyleCnt="4">
        <dgm:presLayoutVars>
          <dgm:chMax val="0"/>
          <dgm:bulletEnabled val="1"/>
        </dgm:presLayoutVars>
      </dgm:prSet>
      <dgm:spPr/>
    </dgm:pt>
    <dgm:pt modelId="{0A232F61-2F2B-4FCF-B719-5BCF8ABD36FE}" type="pres">
      <dgm:prSet presAssocID="{5ED34BAA-C7E5-4066-9CD9-FA970AFF11AF}" presName="negativeSpace" presStyleCnt="0"/>
      <dgm:spPr/>
    </dgm:pt>
    <dgm:pt modelId="{3C607330-65A2-46F4-B605-9E229960D447}" type="pres">
      <dgm:prSet presAssocID="{5ED34BAA-C7E5-4066-9CD9-FA970AFF11AF}" presName="childText" presStyleLbl="conFgAcc1" presStyleIdx="2" presStyleCnt="4">
        <dgm:presLayoutVars>
          <dgm:bulletEnabled val="1"/>
        </dgm:presLayoutVars>
      </dgm:prSet>
      <dgm:spPr/>
    </dgm:pt>
    <dgm:pt modelId="{6044C499-EB08-4360-8BD2-CACAC295383C}" type="pres">
      <dgm:prSet presAssocID="{F5EBE247-AFE9-4A75-BBB3-FF02AE451022}" presName="spaceBetweenRectangles" presStyleCnt="0"/>
      <dgm:spPr/>
    </dgm:pt>
    <dgm:pt modelId="{6D248F3D-33BB-4274-8946-B3BC8C190578}" type="pres">
      <dgm:prSet presAssocID="{AFA84A42-A7DF-43B6-BCED-687E85E14A3F}" presName="parentLin" presStyleCnt="0"/>
      <dgm:spPr/>
    </dgm:pt>
    <dgm:pt modelId="{85CEC299-A17C-491D-879E-5FF817408DED}" type="pres">
      <dgm:prSet presAssocID="{AFA84A42-A7DF-43B6-BCED-687E85E14A3F}" presName="parentLeftMargin" presStyleLbl="node1" presStyleIdx="2" presStyleCnt="4"/>
      <dgm:spPr/>
    </dgm:pt>
    <dgm:pt modelId="{32A2D360-36C0-494E-954B-FEDE3893F373}" type="pres">
      <dgm:prSet presAssocID="{AFA84A42-A7DF-43B6-BCED-687E85E14A3F}" presName="parentText" presStyleLbl="node1" presStyleIdx="3" presStyleCnt="4">
        <dgm:presLayoutVars>
          <dgm:chMax val="0"/>
          <dgm:bulletEnabled val="1"/>
        </dgm:presLayoutVars>
      </dgm:prSet>
      <dgm:spPr/>
    </dgm:pt>
    <dgm:pt modelId="{23AD16C3-9D9A-44CB-BCA0-D4391C58D547}" type="pres">
      <dgm:prSet presAssocID="{AFA84A42-A7DF-43B6-BCED-687E85E14A3F}" presName="negativeSpace" presStyleCnt="0"/>
      <dgm:spPr/>
    </dgm:pt>
    <dgm:pt modelId="{7F7D9184-5CA0-410E-A61D-9721ADBFAFAE}" type="pres">
      <dgm:prSet presAssocID="{AFA84A42-A7DF-43B6-BCED-687E85E14A3F}" presName="childText" presStyleLbl="conFgAcc1" presStyleIdx="3" presStyleCnt="4">
        <dgm:presLayoutVars>
          <dgm:bulletEnabled val="1"/>
        </dgm:presLayoutVars>
      </dgm:prSet>
      <dgm:spPr/>
    </dgm:pt>
  </dgm:ptLst>
  <dgm:cxnLst>
    <dgm:cxn modelId="{F68E4702-2BD3-42FE-B95E-3126DB3E91B9}" srcId="{AFA84A42-A7DF-43B6-BCED-687E85E14A3F}" destId="{B88D9BD3-56D5-4B11-9BC4-BF863CAB3DBF}" srcOrd="0" destOrd="0" parTransId="{317B1E93-C5B8-437E-AB70-965E240DCDBF}" sibTransId="{7981D048-8177-4976-9C22-C96006E42AD3}"/>
    <dgm:cxn modelId="{315A0B0C-2452-480D-A4EC-138D7DAA0B37}" srcId="{5CAC6E89-8D61-41CE-B485-D446E81BC557}" destId="{FE5806CA-90C0-4767-B9A2-2F5EE4877C19}" srcOrd="0" destOrd="0" parTransId="{F96DDCBE-0EDB-4C65-BE7D-8DC7DCBA7962}" sibTransId="{8AD0F6F7-C0C1-40C9-ADA4-898FCFDD45FD}"/>
    <dgm:cxn modelId="{2E38E30E-9964-4762-97CE-187452CD21A7}" srcId="{5CAC6E89-8D61-41CE-B485-D446E81BC557}" destId="{3AFF19C7-4FB7-4981-963D-FB9B0279F4D0}" srcOrd="1" destOrd="0" parTransId="{D1429087-B8B3-4203-9EC2-F38E7180D623}" sibTransId="{62A27C36-1C92-466C-B34E-C1CEE9C58A9D}"/>
    <dgm:cxn modelId="{2B3CFE18-2649-4DA7-BD88-1D36C1AC94A8}" srcId="{FE5806CA-90C0-4767-B9A2-2F5EE4877C19}" destId="{4F600090-5BAB-473F-B334-3A385E20ACEA}" srcOrd="1" destOrd="0" parTransId="{C138B3FA-E70C-47D7-9DA9-29CCB72ADC84}" sibTransId="{36A8EB91-5E96-4EB3-9D9F-FA9755855675}"/>
    <dgm:cxn modelId="{39B1AA30-348F-40A7-A0ED-67CA2FA20EBE}" type="presOf" srcId="{FE5806CA-90C0-4767-B9A2-2F5EE4877C19}" destId="{89DAF6F2-441E-411B-A709-5BCA0EF94829}" srcOrd="1" destOrd="0" presId="urn:microsoft.com/office/officeart/2005/8/layout/list1"/>
    <dgm:cxn modelId="{7BA81A32-85DB-4B84-947A-DF8399A53FB2}" srcId="{5CAC6E89-8D61-41CE-B485-D446E81BC557}" destId="{5ED34BAA-C7E5-4066-9CD9-FA970AFF11AF}" srcOrd="2" destOrd="0" parTransId="{E3E71965-52C6-47F1-AF69-907C59905B88}" sibTransId="{F5EBE247-AFE9-4A75-BBB3-FF02AE451022}"/>
    <dgm:cxn modelId="{BD13F25F-FC2A-48F6-BC9A-849DC4BBD562}" type="presOf" srcId="{5CAC6E89-8D61-41CE-B485-D446E81BC557}" destId="{B902A285-C333-498D-BE6D-38566E131EA4}" srcOrd="0" destOrd="0" presId="urn:microsoft.com/office/officeart/2005/8/layout/list1"/>
    <dgm:cxn modelId="{15B5AB60-E57B-42FC-BF4F-30D539F0014B}" type="presOf" srcId="{74BB1DAA-6247-4D77-A12F-F1E51A02E086}" destId="{3C607330-65A2-46F4-B605-9E229960D447}" srcOrd="0" destOrd="1" presId="urn:microsoft.com/office/officeart/2005/8/layout/list1"/>
    <dgm:cxn modelId="{212E676A-FB90-45D1-AAC2-6B8825DE3FD8}" type="presOf" srcId="{5ED34BAA-C7E5-4066-9CD9-FA970AFF11AF}" destId="{27473D55-6DA4-49E2-9A7B-A2710FEA6ECB}" srcOrd="0" destOrd="0" presId="urn:microsoft.com/office/officeart/2005/8/layout/list1"/>
    <dgm:cxn modelId="{BB80CC54-8992-4DD1-B129-68A2B9E2AD65}" type="presOf" srcId="{1A5DC024-C98D-41AC-934B-0F9055B82568}" destId="{E70FDF43-97D4-43F1-A166-CC843657E64A}" srcOrd="0" destOrd="0" presId="urn:microsoft.com/office/officeart/2005/8/layout/list1"/>
    <dgm:cxn modelId="{24DB0375-3C50-4096-831B-9363FB0F1BBC}" type="presOf" srcId="{3AFF19C7-4FB7-4981-963D-FB9B0279F4D0}" destId="{D7014629-DD70-4396-AF84-AB072E1F3799}" srcOrd="0" destOrd="0" presId="urn:microsoft.com/office/officeart/2005/8/layout/list1"/>
    <dgm:cxn modelId="{101A2488-C020-4429-B5C4-FE1137FD8B00}" type="presOf" srcId="{3AFF19C7-4FB7-4981-963D-FB9B0279F4D0}" destId="{6B0312C1-241B-43B9-994D-378BC3536E11}" srcOrd="1" destOrd="0" presId="urn:microsoft.com/office/officeart/2005/8/layout/list1"/>
    <dgm:cxn modelId="{9D260B8D-CF86-4313-AC56-3D7938B4BA02}" type="presOf" srcId="{10D1CA0D-6AEE-4CBF-AE7F-8F87F4944674}" destId="{3C607330-65A2-46F4-B605-9E229960D447}" srcOrd="0" destOrd="0" presId="urn:microsoft.com/office/officeart/2005/8/layout/list1"/>
    <dgm:cxn modelId="{B743F88F-D4D4-47BD-B068-E41891CB4A4C}" srcId="{5CAC6E89-8D61-41CE-B485-D446E81BC557}" destId="{AFA84A42-A7DF-43B6-BCED-687E85E14A3F}" srcOrd="3" destOrd="0" parTransId="{0BB7A3CF-C5BF-466E-843A-5867BC833EBC}" sibTransId="{35BC54AD-169E-4496-BCEC-C06B39BC29CD}"/>
    <dgm:cxn modelId="{1957B794-5724-4C52-AC9F-28EFE61109FD}" srcId="{5ED34BAA-C7E5-4066-9CD9-FA970AFF11AF}" destId="{10D1CA0D-6AEE-4CBF-AE7F-8F87F4944674}" srcOrd="0" destOrd="0" parTransId="{9177F9DA-1FEE-47EA-991F-A0DED8F64912}" sibTransId="{0B4C71E5-53A6-462E-95AC-3D0D1578DB6B}"/>
    <dgm:cxn modelId="{00B9A298-1454-4A73-9C23-47E51CAD824D}" srcId="{5ED34BAA-C7E5-4066-9CD9-FA970AFF11AF}" destId="{74BB1DAA-6247-4D77-A12F-F1E51A02E086}" srcOrd="1" destOrd="0" parTransId="{C64427C3-B6B3-4153-B517-876A25B3A1F1}" sibTransId="{A9390738-1204-4B82-BA1D-CF13C5CAF3D1}"/>
    <dgm:cxn modelId="{BF63739F-8320-44B8-B02A-4B18087C78F2}" type="presOf" srcId="{4E8D47F9-FE34-4FAF-A367-F196B376B973}" destId="{124365EB-2ED1-4CFC-8BFA-0B60CA5A2F96}" srcOrd="0" destOrd="0" presId="urn:microsoft.com/office/officeart/2005/8/layout/list1"/>
    <dgm:cxn modelId="{371DDEA0-7F39-4BA2-9E86-1C9396B68C7E}" type="presOf" srcId="{FE5806CA-90C0-4767-B9A2-2F5EE4877C19}" destId="{D4903FD3-EBAD-47DA-895D-4E6DB67DDCB3}" srcOrd="0" destOrd="0" presId="urn:microsoft.com/office/officeart/2005/8/layout/list1"/>
    <dgm:cxn modelId="{B770DDA4-4D8C-4E9D-A97D-B9A4BD33D04B}" type="presOf" srcId="{4F600090-5BAB-473F-B334-3A385E20ACEA}" destId="{124365EB-2ED1-4CFC-8BFA-0B60CA5A2F96}" srcOrd="0" destOrd="1" presId="urn:microsoft.com/office/officeart/2005/8/layout/list1"/>
    <dgm:cxn modelId="{31C581B8-A2CF-49BD-AE07-3D4B83EC7332}" type="presOf" srcId="{B88D9BD3-56D5-4B11-9BC4-BF863CAB3DBF}" destId="{7F7D9184-5CA0-410E-A61D-9721ADBFAFAE}" srcOrd="0" destOrd="0" presId="urn:microsoft.com/office/officeart/2005/8/layout/list1"/>
    <dgm:cxn modelId="{088202BB-006D-40C0-B259-651812E31676}" srcId="{FE5806CA-90C0-4767-B9A2-2F5EE4877C19}" destId="{4E8D47F9-FE34-4FAF-A367-F196B376B973}" srcOrd="0" destOrd="0" parTransId="{91571845-7B66-4F17-A30F-025308713C63}" sibTransId="{1E3C7AB8-1C23-4A00-8DE4-321D8EA0C88E}"/>
    <dgm:cxn modelId="{301B4BC0-99EA-4CE0-9872-1E8761DEE1DF}" type="presOf" srcId="{AFA84A42-A7DF-43B6-BCED-687E85E14A3F}" destId="{85CEC299-A17C-491D-879E-5FF817408DED}" srcOrd="0" destOrd="0" presId="urn:microsoft.com/office/officeart/2005/8/layout/list1"/>
    <dgm:cxn modelId="{020E5EC4-C065-4A6C-B935-A541366FDFEC}" type="presOf" srcId="{AFA84A42-A7DF-43B6-BCED-687E85E14A3F}" destId="{32A2D360-36C0-494E-954B-FEDE3893F373}" srcOrd="1" destOrd="0" presId="urn:microsoft.com/office/officeart/2005/8/layout/list1"/>
    <dgm:cxn modelId="{95016AE8-7DF7-42F3-A62A-DE0E7C123201}" srcId="{3AFF19C7-4FB7-4981-963D-FB9B0279F4D0}" destId="{1A5DC024-C98D-41AC-934B-0F9055B82568}" srcOrd="0" destOrd="0" parTransId="{F3469BB2-0E36-4A27-9F3C-05231FFDA38E}" sibTransId="{EF2650D1-43E7-4C51-8A3E-0B42066783AF}"/>
    <dgm:cxn modelId="{88EB15F1-DFD8-43DF-96E7-E3AF99B59909}" type="presOf" srcId="{5ED34BAA-C7E5-4066-9CD9-FA970AFF11AF}" destId="{4A5C3DE5-1DE8-48D4-9600-4DF71555FC36}" srcOrd="1" destOrd="0" presId="urn:microsoft.com/office/officeart/2005/8/layout/list1"/>
    <dgm:cxn modelId="{03C56002-CFE6-4902-A1F6-404AD2FC0EA3}" type="presParOf" srcId="{B902A285-C333-498D-BE6D-38566E131EA4}" destId="{5AE72953-0E1D-41F4-A43D-0511D75F9A4B}" srcOrd="0"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1" destOrd="0" presId="urn:microsoft.com/office/officeart/2005/8/layout/list1"/>
    <dgm:cxn modelId="{CA415FCA-9ED4-4CC4-BA3C-2A8588374D78}" type="presParOf" srcId="{B902A285-C333-498D-BE6D-38566E131EA4}" destId="{124365EB-2ED1-4CFC-8BFA-0B60CA5A2F96}" srcOrd="2" destOrd="0" presId="urn:microsoft.com/office/officeart/2005/8/layout/list1"/>
    <dgm:cxn modelId="{FC951384-840E-4DCE-98BF-EB6010449E09}" type="presParOf" srcId="{B902A285-C333-498D-BE6D-38566E131EA4}" destId="{F7B24473-248A-4D66-A263-673091B41BFD}" srcOrd="3" destOrd="0" presId="urn:microsoft.com/office/officeart/2005/8/layout/list1"/>
    <dgm:cxn modelId="{5B63EFFF-98A2-4E49-A7EE-C4F899414CD9}" type="presParOf" srcId="{B902A285-C333-498D-BE6D-38566E131EA4}" destId="{C3B92B33-30E9-4FED-9EB0-7361FC75A8B0}" srcOrd="4" destOrd="0" presId="urn:microsoft.com/office/officeart/2005/8/layout/list1"/>
    <dgm:cxn modelId="{DCC90457-074F-49B4-8827-EC81CFC63B64}" type="presParOf" srcId="{C3B92B33-30E9-4FED-9EB0-7361FC75A8B0}" destId="{D7014629-DD70-4396-AF84-AB072E1F3799}" srcOrd="0" destOrd="0" presId="urn:microsoft.com/office/officeart/2005/8/layout/list1"/>
    <dgm:cxn modelId="{4006C4AB-26B6-45F4-884C-F0507B5414C1}" type="presParOf" srcId="{C3B92B33-30E9-4FED-9EB0-7361FC75A8B0}" destId="{6B0312C1-241B-43B9-994D-378BC3536E11}" srcOrd="1" destOrd="0" presId="urn:microsoft.com/office/officeart/2005/8/layout/list1"/>
    <dgm:cxn modelId="{F53F38D2-7191-43B7-ABCA-DD132064D178}" type="presParOf" srcId="{B902A285-C333-498D-BE6D-38566E131EA4}" destId="{FAE20AE1-8295-4B87-BBB7-1BD195346232}" srcOrd="5" destOrd="0" presId="urn:microsoft.com/office/officeart/2005/8/layout/list1"/>
    <dgm:cxn modelId="{6241E5A5-4C68-4D80-B25E-E18C92602D95}" type="presParOf" srcId="{B902A285-C333-498D-BE6D-38566E131EA4}" destId="{E70FDF43-97D4-43F1-A166-CC843657E64A}" srcOrd="6" destOrd="0" presId="urn:microsoft.com/office/officeart/2005/8/layout/list1"/>
    <dgm:cxn modelId="{084877D3-E7A6-446E-B60D-2FC0BF85AB05}" type="presParOf" srcId="{B902A285-C333-498D-BE6D-38566E131EA4}" destId="{AA977560-ADBD-4641-8BB8-9AA80FE5EC2D}" srcOrd="7" destOrd="0" presId="urn:microsoft.com/office/officeart/2005/8/layout/list1"/>
    <dgm:cxn modelId="{E3E7214A-8586-4D1C-B1C4-5B62A2416502}" type="presParOf" srcId="{B902A285-C333-498D-BE6D-38566E131EA4}" destId="{3E2BB336-47B5-40A2-84E6-14A9FEC3DE0E}" srcOrd="8" destOrd="0" presId="urn:microsoft.com/office/officeart/2005/8/layout/list1"/>
    <dgm:cxn modelId="{2E80224B-9253-447B-A35E-6C8BA720CAA6}" type="presParOf" srcId="{3E2BB336-47B5-40A2-84E6-14A9FEC3DE0E}" destId="{27473D55-6DA4-49E2-9A7B-A2710FEA6ECB}" srcOrd="0" destOrd="0" presId="urn:microsoft.com/office/officeart/2005/8/layout/list1"/>
    <dgm:cxn modelId="{7B54089F-C165-4497-A2C5-EE55AE85772E}" type="presParOf" srcId="{3E2BB336-47B5-40A2-84E6-14A9FEC3DE0E}" destId="{4A5C3DE5-1DE8-48D4-9600-4DF71555FC36}" srcOrd="1" destOrd="0" presId="urn:microsoft.com/office/officeart/2005/8/layout/list1"/>
    <dgm:cxn modelId="{93856536-32E1-4F9A-85D3-E27E334E0ABA}" type="presParOf" srcId="{B902A285-C333-498D-BE6D-38566E131EA4}" destId="{0A232F61-2F2B-4FCF-B719-5BCF8ABD36FE}" srcOrd="9" destOrd="0" presId="urn:microsoft.com/office/officeart/2005/8/layout/list1"/>
    <dgm:cxn modelId="{318D3317-135C-4EF3-8324-7E71171B3720}" type="presParOf" srcId="{B902A285-C333-498D-BE6D-38566E131EA4}" destId="{3C607330-65A2-46F4-B605-9E229960D447}" srcOrd="10" destOrd="0" presId="urn:microsoft.com/office/officeart/2005/8/layout/list1"/>
    <dgm:cxn modelId="{9357FB32-68A6-44BF-B4F1-250F2D3BDE13}" type="presParOf" srcId="{B902A285-C333-498D-BE6D-38566E131EA4}" destId="{6044C499-EB08-4360-8BD2-CACAC295383C}" srcOrd="11" destOrd="0" presId="urn:microsoft.com/office/officeart/2005/8/layout/list1"/>
    <dgm:cxn modelId="{1BC53EFE-70EC-46A0-BF36-6C0E7DB03CF9}" type="presParOf" srcId="{B902A285-C333-498D-BE6D-38566E131EA4}" destId="{6D248F3D-33BB-4274-8946-B3BC8C190578}" srcOrd="12" destOrd="0" presId="urn:microsoft.com/office/officeart/2005/8/layout/list1"/>
    <dgm:cxn modelId="{4C189ACD-B2C4-43CA-997A-B2C07638327E}" type="presParOf" srcId="{6D248F3D-33BB-4274-8946-B3BC8C190578}" destId="{85CEC299-A17C-491D-879E-5FF817408DED}" srcOrd="0" destOrd="0" presId="urn:microsoft.com/office/officeart/2005/8/layout/list1"/>
    <dgm:cxn modelId="{600CD2A5-A200-461A-BDE6-9971C3D107B0}" type="presParOf" srcId="{6D248F3D-33BB-4274-8946-B3BC8C190578}" destId="{32A2D360-36C0-494E-954B-FEDE3893F373}" srcOrd="1" destOrd="0" presId="urn:microsoft.com/office/officeart/2005/8/layout/list1"/>
    <dgm:cxn modelId="{34FD7122-6322-46F5-9CFE-17A085DDF2B2}" type="presParOf" srcId="{B902A285-C333-498D-BE6D-38566E131EA4}" destId="{23AD16C3-9D9A-44CB-BCA0-D4391C58D547}" srcOrd="13" destOrd="0" presId="urn:microsoft.com/office/officeart/2005/8/layout/list1"/>
    <dgm:cxn modelId="{60BFA088-C7D1-4BC2-9F0A-30AB5868F753}" type="presParOf" srcId="{B902A285-C333-498D-BE6D-38566E131EA4}" destId="{7F7D9184-5CA0-410E-A61D-9721ADBFAFAE}" srcOrd="14"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B06077-D743-4F27-B115-BFB16B076C4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6DF407E7-820C-4CDA-AC09-821F3BA63EC4}">
      <dgm:prSet custT="1"/>
      <dgm:spPr/>
      <dgm:t>
        <a:bodyPr/>
        <a:lstStyle/>
        <a:p>
          <a:r>
            <a:rPr lang="en-US" sz="2400" baseline="0" dirty="0"/>
            <a:t>Get details for the individual queries</a:t>
          </a:r>
          <a:endParaRPr lang="en-US" sz="2400" dirty="0"/>
        </a:p>
      </dgm:t>
    </dgm:pt>
    <dgm:pt modelId="{81F87319-CE8B-482C-9E36-72C8AE9A194C}" type="parTrans" cxnId="{2B7140C2-D7D4-49E5-A079-33DF794C4127}">
      <dgm:prSet/>
      <dgm:spPr/>
      <dgm:t>
        <a:bodyPr/>
        <a:lstStyle/>
        <a:p>
          <a:endParaRPr lang="en-US"/>
        </a:p>
      </dgm:t>
    </dgm:pt>
    <dgm:pt modelId="{B5E607DA-0643-4A8D-8C29-E648D6FEDCFC}" type="sibTrans" cxnId="{2B7140C2-D7D4-49E5-A079-33DF794C4127}">
      <dgm:prSet/>
      <dgm:spPr/>
      <dgm:t>
        <a:bodyPr/>
        <a:lstStyle/>
        <a:p>
          <a:endParaRPr lang="en-US"/>
        </a:p>
      </dgm:t>
    </dgm:pt>
    <dgm:pt modelId="{5F3C80D6-3B1C-4372-AEA0-4E68B07D507E}">
      <dgm:prSet custT="1"/>
      <dgm:spPr/>
      <dgm:t>
        <a:bodyPr/>
        <a:lstStyle/>
        <a:p>
          <a:r>
            <a:rPr lang="en-US" sz="2000" baseline="0" dirty="0"/>
            <a:t>CPU Consumption</a:t>
          </a:r>
          <a:endParaRPr lang="en-US" sz="2000" dirty="0"/>
        </a:p>
      </dgm:t>
    </dgm:pt>
    <dgm:pt modelId="{B505CF8A-6F75-4903-BBC3-20DFFC4C548B}" type="parTrans" cxnId="{72E0A53B-EBC3-4B8A-8B22-C8AD5C63B8CD}">
      <dgm:prSet/>
      <dgm:spPr/>
      <dgm:t>
        <a:bodyPr/>
        <a:lstStyle/>
        <a:p>
          <a:endParaRPr lang="en-US"/>
        </a:p>
      </dgm:t>
    </dgm:pt>
    <dgm:pt modelId="{CEA961A0-24D7-42AC-B4A4-1FAFFC7198F7}" type="sibTrans" cxnId="{72E0A53B-EBC3-4B8A-8B22-C8AD5C63B8CD}">
      <dgm:prSet/>
      <dgm:spPr/>
      <dgm:t>
        <a:bodyPr/>
        <a:lstStyle/>
        <a:p>
          <a:endParaRPr lang="en-US"/>
        </a:p>
      </dgm:t>
    </dgm:pt>
    <dgm:pt modelId="{EE814AA4-1EED-48AE-9442-7658993BBEC2}">
      <dgm:prSet custT="1"/>
      <dgm:spPr/>
      <dgm:t>
        <a:bodyPr/>
        <a:lstStyle/>
        <a:p>
          <a:r>
            <a:rPr lang="en-US" sz="2000" baseline="0"/>
            <a:t>Duration</a:t>
          </a:r>
          <a:endParaRPr lang="en-US" sz="2000"/>
        </a:p>
      </dgm:t>
    </dgm:pt>
    <dgm:pt modelId="{BA43835A-62ED-4FD5-A6F5-B16DCB0836E1}" type="parTrans" cxnId="{AAE75118-FE0C-4884-AFFE-0EFDFE87E54E}">
      <dgm:prSet/>
      <dgm:spPr/>
      <dgm:t>
        <a:bodyPr/>
        <a:lstStyle/>
        <a:p>
          <a:endParaRPr lang="en-US"/>
        </a:p>
      </dgm:t>
    </dgm:pt>
    <dgm:pt modelId="{D151F305-9B5A-4AAB-8D95-96726FC8BA60}" type="sibTrans" cxnId="{AAE75118-FE0C-4884-AFFE-0EFDFE87E54E}">
      <dgm:prSet/>
      <dgm:spPr/>
      <dgm:t>
        <a:bodyPr/>
        <a:lstStyle/>
        <a:p>
          <a:endParaRPr lang="en-US"/>
        </a:p>
      </dgm:t>
    </dgm:pt>
    <dgm:pt modelId="{9113F460-0730-4EE2-8092-4EA6D46B3B96}">
      <dgm:prSet custT="1"/>
      <dgm:spPr/>
      <dgm:t>
        <a:bodyPr/>
        <a:lstStyle/>
        <a:p>
          <a:r>
            <a:rPr lang="en-US" sz="2000" baseline="0" dirty="0"/>
            <a:t>Execution Count</a:t>
          </a:r>
          <a:endParaRPr lang="en-US" sz="2000" dirty="0"/>
        </a:p>
      </dgm:t>
    </dgm:pt>
    <dgm:pt modelId="{2DE1D333-4A76-478B-B097-424295D8DC6C}" type="parTrans" cxnId="{E03E88B3-4F93-4F4C-89EA-5E98387EE710}">
      <dgm:prSet/>
      <dgm:spPr/>
      <dgm:t>
        <a:bodyPr/>
        <a:lstStyle/>
        <a:p>
          <a:endParaRPr lang="en-US"/>
        </a:p>
      </dgm:t>
    </dgm:pt>
    <dgm:pt modelId="{83DC5862-B279-45B6-BCA9-00B69EB1AFDE}" type="sibTrans" cxnId="{E03E88B3-4F93-4F4C-89EA-5E98387EE710}">
      <dgm:prSet/>
      <dgm:spPr/>
      <dgm:t>
        <a:bodyPr/>
        <a:lstStyle/>
        <a:p>
          <a:endParaRPr lang="en-US"/>
        </a:p>
      </dgm:t>
    </dgm:pt>
    <dgm:pt modelId="{2068BAEC-3E42-4164-BAB5-4667443BDFB6}">
      <dgm:prSet custT="1"/>
      <dgm:spPr/>
      <dgm:t>
        <a:bodyPr/>
        <a:lstStyle/>
        <a:p>
          <a:r>
            <a:rPr lang="en-US" sz="2400" baseline="0" dirty="0"/>
            <a:t>It does not capture DDL queries</a:t>
          </a:r>
          <a:endParaRPr lang="en-US" sz="2400" dirty="0"/>
        </a:p>
      </dgm:t>
    </dgm:pt>
    <dgm:pt modelId="{BB4A05A1-5BCA-4E6F-86DC-3F3B5B8AFCFD}" type="parTrans" cxnId="{822929AD-05B6-41E6-BAA9-7FD38F5BF541}">
      <dgm:prSet/>
      <dgm:spPr/>
      <dgm:t>
        <a:bodyPr/>
        <a:lstStyle/>
        <a:p>
          <a:endParaRPr lang="en-US"/>
        </a:p>
      </dgm:t>
    </dgm:pt>
    <dgm:pt modelId="{79CB3221-797B-4E8F-A9C3-63FFA509B6F3}" type="sibTrans" cxnId="{822929AD-05B6-41E6-BAA9-7FD38F5BF541}">
      <dgm:prSet/>
      <dgm:spPr/>
      <dgm:t>
        <a:bodyPr/>
        <a:lstStyle/>
        <a:p>
          <a:endParaRPr lang="en-US"/>
        </a:p>
      </dgm:t>
    </dgm:pt>
    <dgm:pt modelId="{FB1ABB9E-4A75-4936-A79F-664F22D2913B}" type="pres">
      <dgm:prSet presAssocID="{A3B06077-D743-4F27-B115-BFB16B076C4E}" presName="linear" presStyleCnt="0">
        <dgm:presLayoutVars>
          <dgm:animLvl val="lvl"/>
          <dgm:resizeHandles val="exact"/>
        </dgm:presLayoutVars>
      </dgm:prSet>
      <dgm:spPr/>
    </dgm:pt>
    <dgm:pt modelId="{657E59CF-D9DE-4529-9FE8-6A9B72F6F2D9}" type="pres">
      <dgm:prSet presAssocID="{6DF407E7-820C-4CDA-AC09-821F3BA63EC4}" presName="parentText" presStyleLbl="node1" presStyleIdx="0" presStyleCnt="2">
        <dgm:presLayoutVars>
          <dgm:chMax val="0"/>
          <dgm:bulletEnabled val="1"/>
        </dgm:presLayoutVars>
      </dgm:prSet>
      <dgm:spPr/>
    </dgm:pt>
    <dgm:pt modelId="{74C59528-9B9A-42EF-9E3E-973956D09847}" type="pres">
      <dgm:prSet presAssocID="{6DF407E7-820C-4CDA-AC09-821F3BA63EC4}" presName="childText" presStyleLbl="revTx" presStyleIdx="0" presStyleCnt="1">
        <dgm:presLayoutVars>
          <dgm:bulletEnabled val="1"/>
        </dgm:presLayoutVars>
      </dgm:prSet>
      <dgm:spPr/>
    </dgm:pt>
    <dgm:pt modelId="{E76F6BF3-F965-4588-8C47-77DD1629D9DB}" type="pres">
      <dgm:prSet presAssocID="{2068BAEC-3E42-4164-BAB5-4667443BDFB6}" presName="parentText" presStyleLbl="node1" presStyleIdx="1" presStyleCnt="2">
        <dgm:presLayoutVars>
          <dgm:chMax val="0"/>
          <dgm:bulletEnabled val="1"/>
        </dgm:presLayoutVars>
      </dgm:prSet>
      <dgm:spPr/>
    </dgm:pt>
  </dgm:ptLst>
  <dgm:cxnLst>
    <dgm:cxn modelId="{AAE75118-FE0C-4884-AFFE-0EFDFE87E54E}" srcId="{6DF407E7-820C-4CDA-AC09-821F3BA63EC4}" destId="{EE814AA4-1EED-48AE-9442-7658993BBEC2}" srcOrd="1" destOrd="0" parTransId="{BA43835A-62ED-4FD5-A6F5-B16DCB0836E1}" sibTransId="{D151F305-9B5A-4AAB-8D95-96726FC8BA60}"/>
    <dgm:cxn modelId="{72E0A53B-EBC3-4B8A-8B22-C8AD5C63B8CD}" srcId="{6DF407E7-820C-4CDA-AC09-821F3BA63EC4}" destId="{5F3C80D6-3B1C-4372-AEA0-4E68B07D507E}" srcOrd="0" destOrd="0" parTransId="{B505CF8A-6F75-4903-BBC3-20DFFC4C548B}" sibTransId="{CEA961A0-24D7-42AC-B4A4-1FAFFC7198F7}"/>
    <dgm:cxn modelId="{64E97D98-A074-4CC4-9841-E615BE3D1432}" type="presOf" srcId="{2068BAEC-3E42-4164-BAB5-4667443BDFB6}" destId="{E76F6BF3-F965-4588-8C47-77DD1629D9DB}" srcOrd="0" destOrd="0" presId="urn:microsoft.com/office/officeart/2005/8/layout/vList2"/>
    <dgm:cxn modelId="{EBFCFBA7-EBB1-4E24-9C48-169839E441F5}" type="presOf" srcId="{9113F460-0730-4EE2-8092-4EA6D46B3B96}" destId="{74C59528-9B9A-42EF-9E3E-973956D09847}" srcOrd="0" destOrd="2" presId="urn:microsoft.com/office/officeart/2005/8/layout/vList2"/>
    <dgm:cxn modelId="{822929AD-05B6-41E6-BAA9-7FD38F5BF541}" srcId="{A3B06077-D743-4F27-B115-BFB16B076C4E}" destId="{2068BAEC-3E42-4164-BAB5-4667443BDFB6}" srcOrd="1" destOrd="0" parTransId="{BB4A05A1-5BCA-4E6F-86DC-3F3B5B8AFCFD}" sibTransId="{79CB3221-797B-4E8F-A9C3-63FFA509B6F3}"/>
    <dgm:cxn modelId="{0BC39BB0-83A4-4844-9D1C-70704690C1F2}" type="presOf" srcId="{6DF407E7-820C-4CDA-AC09-821F3BA63EC4}" destId="{657E59CF-D9DE-4529-9FE8-6A9B72F6F2D9}" srcOrd="0" destOrd="0" presId="urn:microsoft.com/office/officeart/2005/8/layout/vList2"/>
    <dgm:cxn modelId="{E03E88B3-4F93-4F4C-89EA-5E98387EE710}" srcId="{6DF407E7-820C-4CDA-AC09-821F3BA63EC4}" destId="{9113F460-0730-4EE2-8092-4EA6D46B3B96}" srcOrd="2" destOrd="0" parTransId="{2DE1D333-4A76-478B-B097-424295D8DC6C}" sibTransId="{83DC5862-B279-45B6-BCA9-00B69EB1AFDE}"/>
    <dgm:cxn modelId="{2B7140C2-D7D4-49E5-A079-33DF794C4127}" srcId="{A3B06077-D743-4F27-B115-BFB16B076C4E}" destId="{6DF407E7-820C-4CDA-AC09-821F3BA63EC4}" srcOrd="0" destOrd="0" parTransId="{81F87319-CE8B-482C-9E36-72C8AE9A194C}" sibTransId="{B5E607DA-0643-4A8D-8C29-E648D6FEDCFC}"/>
    <dgm:cxn modelId="{5911CCCA-B73E-4F17-800D-DA6BD87BF9EC}" type="presOf" srcId="{EE814AA4-1EED-48AE-9442-7658993BBEC2}" destId="{74C59528-9B9A-42EF-9E3E-973956D09847}" srcOrd="0" destOrd="1" presId="urn:microsoft.com/office/officeart/2005/8/layout/vList2"/>
    <dgm:cxn modelId="{9FD2D1D1-A6E3-42AF-9CAC-24DC042EB3D0}" type="presOf" srcId="{A3B06077-D743-4F27-B115-BFB16B076C4E}" destId="{FB1ABB9E-4A75-4936-A79F-664F22D2913B}" srcOrd="0" destOrd="0" presId="urn:microsoft.com/office/officeart/2005/8/layout/vList2"/>
    <dgm:cxn modelId="{FF8457E3-EF04-4535-87F8-175CFE9A1723}" type="presOf" srcId="{5F3C80D6-3B1C-4372-AEA0-4E68B07D507E}" destId="{74C59528-9B9A-42EF-9E3E-973956D09847}" srcOrd="0" destOrd="0" presId="urn:microsoft.com/office/officeart/2005/8/layout/vList2"/>
    <dgm:cxn modelId="{DB172564-30A2-4FF7-BE90-9698C8EAE48C}" type="presParOf" srcId="{FB1ABB9E-4A75-4936-A79F-664F22D2913B}" destId="{657E59CF-D9DE-4529-9FE8-6A9B72F6F2D9}" srcOrd="0" destOrd="0" presId="urn:microsoft.com/office/officeart/2005/8/layout/vList2"/>
    <dgm:cxn modelId="{F8375FEC-901D-40DB-96B8-62C8253A8B4A}" type="presParOf" srcId="{FB1ABB9E-4A75-4936-A79F-664F22D2913B}" destId="{74C59528-9B9A-42EF-9E3E-973956D09847}" srcOrd="1" destOrd="0" presId="urn:microsoft.com/office/officeart/2005/8/layout/vList2"/>
    <dgm:cxn modelId="{67E3B45D-53B3-41A7-B918-25A861E183A5}" type="presParOf" srcId="{FB1ABB9E-4A75-4936-A79F-664F22D2913B}" destId="{E76F6BF3-F965-4588-8C47-77DD1629D9DB}"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chemeClr val="tx2">
            <a:lumMod val="60000"/>
            <a:lumOff val="40000"/>
          </a:schemeClr>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chemeClr val="tx2">
            <a:lumMod val="60000"/>
            <a:lumOff val="40000"/>
          </a:schemeClr>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chemeClr val="tx2">
            <a:lumMod val="60000"/>
            <a:lumOff val="40000"/>
          </a:schemeClr>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b="1" dirty="0"/>
            <a:t>Problem</a:t>
          </a:r>
          <a:r>
            <a:rPr lang="en-US" dirty="0"/>
            <a:t>: Incorrect Assumptions for Cardinality Estimates</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4E8D47F9-FE34-4FAF-A367-F196B376B973}">
      <dgm:prSet phldrT="[Text]" phldr="0"/>
      <dgm:spPr/>
      <dgm:t>
        <a:bodyPr/>
        <a:lstStyle/>
        <a:p>
          <a:r>
            <a:rPr lang="en-US" dirty="0"/>
            <a:t>The cardinality estimator sometimes makes incorrect assumptions</a:t>
          </a:r>
        </a:p>
      </dgm:t>
    </dgm:pt>
    <dgm:pt modelId="{1E3C7AB8-1C23-4A00-8DE4-321D8EA0C88E}" type="sibTrans" cxnId="{088202BB-006D-40C0-B259-651812E31676}">
      <dgm:prSet/>
      <dgm:spPr/>
      <dgm:t>
        <a:bodyPr/>
        <a:lstStyle/>
        <a:p>
          <a:endParaRPr lang="en-US"/>
        </a:p>
      </dgm:t>
    </dgm:pt>
    <dgm:pt modelId="{91571845-7B66-4F17-A30F-025308713C63}" type="parTrans" cxnId="{088202BB-006D-40C0-B259-651812E31676}">
      <dgm:prSet/>
      <dgm:spPr/>
      <dgm:t>
        <a:bodyPr/>
        <a:lstStyle/>
        <a:p>
          <a:endParaRPr lang="en-US"/>
        </a:p>
      </dgm:t>
    </dgm:pt>
    <dgm:pt modelId="{3AFF19C7-4FB7-4981-963D-FB9B0279F4D0}">
      <dgm:prSet phldrT="[Text]" phldr="0"/>
      <dgm:spPr/>
      <dgm:t>
        <a:bodyPr/>
        <a:lstStyle/>
        <a:p>
          <a:r>
            <a:rPr lang="en-US" b="1" dirty="0"/>
            <a:t>Solution</a:t>
          </a:r>
          <a:r>
            <a:rPr lang="en-US" dirty="0"/>
            <a:t>: Learn from historical CE model assumptions</a:t>
          </a:r>
        </a:p>
      </dgm:t>
    </dgm:pt>
    <dgm:pt modelId="{62A27C36-1C92-466C-B34E-C1CEE9C58A9D}" type="sibTrans" cxnId="{2E38E30E-9964-4762-97CE-187452CD21A7}">
      <dgm:prSet/>
      <dgm:spPr/>
      <dgm:t>
        <a:bodyPr/>
        <a:lstStyle/>
        <a:p>
          <a:endParaRPr lang="en-US"/>
        </a:p>
      </dgm:t>
    </dgm:pt>
    <dgm:pt modelId="{D1429087-B8B3-4203-9EC2-F38E7180D623}" type="parTrans" cxnId="{2E38E30E-9964-4762-97CE-187452CD21A7}">
      <dgm:prSet/>
      <dgm:spPr/>
      <dgm:t>
        <a:bodyPr/>
        <a:lstStyle/>
        <a:p>
          <a:endParaRPr lang="en-US"/>
        </a:p>
      </dgm:t>
    </dgm:pt>
    <dgm:pt modelId="{1A5DC024-C98D-41AC-934B-0F9055B82568}">
      <dgm:prSet phldrT="[Text]" phldr="0"/>
      <dgm:spPr/>
      <dgm:t>
        <a:bodyPr/>
        <a:lstStyle/>
        <a:p>
          <a:r>
            <a:rPr lang="en-US" dirty="0"/>
            <a:t>CE Feedback will evaluate accuracy for repeated queries</a:t>
          </a:r>
        </a:p>
      </dgm:t>
    </dgm:pt>
    <dgm:pt modelId="{EF2650D1-43E7-4C51-8A3E-0B42066783AF}" type="sibTrans" cxnId="{95016AE8-7DF7-42F3-A62A-DE0E7C123201}">
      <dgm:prSet/>
      <dgm:spPr/>
      <dgm:t>
        <a:bodyPr/>
        <a:lstStyle/>
        <a:p>
          <a:endParaRPr lang="en-US"/>
        </a:p>
      </dgm:t>
    </dgm:pt>
    <dgm:pt modelId="{F3469BB2-0E36-4A27-9F3C-05231FFDA38E}" type="parTrans" cxnId="{95016AE8-7DF7-42F3-A62A-DE0E7C123201}">
      <dgm:prSet/>
      <dgm:spPr/>
      <dgm:t>
        <a:bodyPr/>
        <a:lstStyle/>
        <a:p>
          <a:endParaRPr lang="en-US"/>
        </a:p>
      </dgm:t>
    </dgm:pt>
    <dgm:pt modelId="{FB9E8E93-E505-4F61-B986-63526300BB1E}">
      <dgm:prSet phldrT="[Text]" phldr="0"/>
      <dgm:spPr/>
      <dgm:t>
        <a:bodyPr/>
        <a:lstStyle/>
        <a:p>
          <a:r>
            <a:rPr lang="en-US" b="1" dirty="0"/>
            <a:t>Cardinality Estimation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b="0" dirty="0"/>
            <a:t>CE determines the estimated number of rows for a query plan</a:t>
          </a:r>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E3F38637-5B67-40C1-8A63-E0DC8D51860D}">
      <dgm:prSet phldrT="[Text]" phldr="0"/>
      <dgm:spPr/>
      <dgm:t>
        <a:bodyPr/>
        <a:lstStyle/>
        <a:p>
          <a:r>
            <a:rPr lang="en-US" b="0" dirty="0"/>
            <a:t>CE models are based on statistics and assumptions about the distribution of data </a:t>
          </a:r>
        </a:p>
      </dgm:t>
    </dgm:pt>
    <dgm:pt modelId="{D78B2B48-E9D1-4015-85FD-541592C4F4C6}" type="parTrans" cxnId="{E520AFE4-87A3-49C2-8CA3-A18830BBA01A}">
      <dgm:prSet/>
      <dgm:spPr/>
      <dgm:t>
        <a:bodyPr/>
        <a:lstStyle/>
        <a:p>
          <a:endParaRPr lang="en-US"/>
        </a:p>
      </dgm:t>
    </dgm:pt>
    <dgm:pt modelId="{11EBDD95-CB59-4214-8C3C-2FE5D7CD2F11}" type="sibTrans" cxnId="{E520AFE4-87A3-49C2-8CA3-A18830BBA01A}">
      <dgm:prSet/>
      <dgm:spPr/>
      <dgm:t>
        <a:bodyPr/>
        <a:lstStyle/>
        <a:p>
          <a:endParaRPr lang="en-US"/>
        </a:p>
      </dgm:t>
    </dgm:pt>
    <dgm:pt modelId="{614AC4DC-3D7C-4485-9ED9-3747256BA383}">
      <dgm:prSet phldrT="[Text]" phldr="0"/>
      <dgm:spPr/>
      <dgm:t>
        <a:bodyPr/>
        <a:lstStyle/>
        <a:p>
          <a:r>
            <a:rPr lang="en-US" dirty="0"/>
            <a:t>One CE models doesn’t fit all scenarios</a:t>
          </a:r>
        </a:p>
      </dgm:t>
    </dgm:pt>
    <dgm:pt modelId="{8909E2FC-8890-4DF7-8F06-0D5F50308B0F}" type="parTrans" cxnId="{721E3F44-22FC-48AD-8EA1-02FB1F8E180F}">
      <dgm:prSet/>
      <dgm:spPr/>
      <dgm:t>
        <a:bodyPr/>
        <a:lstStyle/>
        <a:p>
          <a:endParaRPr lang="en-US"/>
        </a:p>
      </dgm:t>
    </dgm:pt>
    <dgm:pt modelId="{7538021C-7AE2-4692-870B-22EDE6C58B9D}" type="sibTrans" cxnId="{721E3F44-22FC-48AD-8EA1-02FB1F8E180F}">
      <dgm:prSet/>
      <dgm:spPr/>
      <dgm:t>
        <a:bodyPr/>
        <a:lstStyle/>
        <a:p>
          <a:endParaRPr lang="en-US"/>
        </a:p>
      </dgm:t>
    </dgm:pt>
    <dgm:pt modelId="{1BCF9797-E459-420B-B104-D8F80BAAB06D}">
      <dgm:prSet phldrT="[Text]" phldr="0"/>
      <dgm:spPr/>
      <dgm:t>
        <a:bodyPr/>
        <a:lstStyle/>
        <a:p>
          <a:r>
            <a:rPr lang="en-US" dirty="0"/>
            <a:t>If assumption looks incorrect, test a different CE model assumption and verify if it helps</a:t>
          </a:r>
        </a:p>
      </dgm:t>
    </dgm:pt>
    <dgm:pt modelId="{63BB9DA9-DEFE-48B2-8EB9-E182991CD2E4}" type="parTrans" cxnId="{F19BC91D-212D-48C3-B8CF-6D3E65454B2B}">
      <dgm:prSet/>
      <dgm:spPr/>
      <dgm:t>
        <a:bodyPr/>
        <a:lstStyle/>
        <a:p>
          <a:endParaRPr lang="en-US"/>
        </a:p>
      </dgm:t>
    </dgm:pt>
    <dgm:pt modelId="{A4E578A8-18E1-4EB8-A6A5-C74FA8421828}" type="sibTrans" cxnId="{F19BC91D-212D-48C3-B8CF-6D3E65454B2B}">
      <dgm:prSet/>
      <dgm:spPr/>
      <dgm:t>
        <a:bodyPr/>
        <a:lstStyle/>
        <a:p>
          <a:endParaRPr lang="en-US"/>
        </a:p>
      </dgm:t>
    </dgm:pt>
    <dgm:pt modelId="{7BAEB395-7C64-4B58-BE73-1A7E7AAD2D89}">
      <dgm:prSet phldrT="[Text]" phldr="0"/>
      <dgm:spPr/>
      <dgm:t>
        <a:bodyPr/>
        <a:lstStyle/>
        <a:p>
          <a:r>
            <a:rPr lang="en-US" dirty="0"/>
            <a:t>If a CE model assumption does help, it will replace the current plan in cache.</a:t>
          </a:r>
        </a:p>
      </dgm:t>
    </dgm:pt>
    <dgm:pt modelId="{806A76F8-D6F0-4EE6-8A64-AE2C577BBBD4}" type="parTrans" cxnId="{D3A2CFF1-8C3C-40EC-ABD5-A3EE5F5611F1}">
      <dgm:prSet/>
      <dgm:spPr/>
      <dgm:t>
        <a:bodyPr/>
        <a:lstStyle/>
        <a:p>
          <a:endParaRPr lang="en-US"/>
        </a:p>
      </dgm:t>
    </dgm:pt>
    <dgm:pt modelId="{7C66253B-5D2E-4856-B164-F1F4E872A393}" type="sibTrans" cxnId="{D3A2CFF1-8C3C-40EC-ABD5-A3EE5F5611F1}">
      <dgm:prSet/>
      <dgm:spPr/>
      <dgm:t>
        <a:bodyPr/>
        <a:lstStyle/>
        <a:p>
          <a:endParaRPr lang="en-US"/>
        </a:p>
      </dgm:t>
    </dgm:pt>
    <dgm:pt modelId="{49BD41BE-954A-4AD1-8F76-A297AFF227A0}">
      <dgm:prSet phldrT="[Text]" phldr="0"/>
      <dgm:spPr/>
      <dgm:t>
        <a:bodyPr/>
        <a:lstStyle/>
        <a:p>
          <a:r>
            <a:rPr lang="en-US" b="0" dirty="0"/>
            <a:t>Learn more about CE models and assumptions </a:t>
          </a:r>
          <a:r>
            <a:rPr lang="en-US" dirty="0">
              <a:hlinkClick xmlns:r="http://schemas.openxmlformats.org/officeDocument/2006/relationships" r:id="rId1">
                <a:extLst>
                  <a:ext uri="{A12FA001-AC4F-418D-AE19-62706E023703}">
                    <ahyp:hlinkClr xmlns:ahyp="http://schemas.microsoft.com/office/drawing/2018/hyperlinkcolor" val="tx"/>
                  </a:ext>
                </a:extLst>
              </a:hlinkClick>
            </a:rPr>
            <a:t>https://aka.ms/sqlCE</a:t>
          </a:r>
          <a:endParaRPr lang="en-US" b="0" dirty="0"/>
        </a:p>
      </dgm:t>
    </dgm:pt>
    <dgm:pt modelId="{B4A36FE5-A725-4038-A461-B904A61B1297}" type="parTrans" cxnId="{0068D1C3-00A4-4EA4-9BCA-E3ACC1F14018}">
      <dgm:prSet/>
      <dgm:spPr/>
      <dgm:t>
        <a:bodyPr/>
        <a:lstStyle/>
        <a:p>
          <a:endParaRPr lang="en-US"/>
        </a:p>
      </dgm:t>
    </dgm:pt>
    <dgm:pt modelId="{E92F2E00-F93E-4E77-AB04-865DA4CF2A66}" type="sibTrans" cxnId="{0068D1C3-00A4-4EA4-9BCA-E3ACC1F14018}">
      <dgm:prSet/>
      <dgm:spPr/>
      <dgm:t>
        <a:bodyPr/>
        <a:lstStyle/>
        <a:p>
          <a:endParaRPr lang="en-US"/>
        </a:p>
      </dgm:t>
    </dgm:pt>
    <dgm:pt modelId="{47D674B7-EE9A-44C4-8FB3-00F6375BB5B1}">
      <dgm:prSet phldrT="[Text]" phldr="0"/>
      <dgm:spPr/>
      <dgm:t>
        <a:bodyPr/>
        <a:lstStyle/>
        <a:p>
          <a:r>
            <a:rPr lang="en-US" dirty="0"/>
            <a:t>Poor assumptions leads to poor query plans.</a:t>
          </a:r>
        </a:p>
      </dgm:t>
    </dgm:pt>
    <dgm:pt modelId="{B30BCB0E-B962-46BC-BF9D-13D56C887C1D}" type="parTrans" cxnId="{DB5F4716-2FF0-4467-92E5-7C30646C7A44}">
      <dgm:prSet/>
      <dgm:spPr/>
      <dgm:t>
        <a:bodyPr/>
        <a:lstStyle/>
        <a:p>
          <a:endParaRPr lang="en-US"/>
        </a:p>
      </dgm:t>
    </dgm:pt>
    <dgm:pt modelId="{F4717475-7E8C-454D-88A0-586DA0EFE864}" type="sibTrans" cxnId="{DB5F4716-2FF0-4467-92E5-7C30646C7A44}">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3"/>
      <dgm:spPr/>
    </dgm:pt>
    <dgm:pt modelId="{09DF4224-3D80-47D7-B2BA-0A0BBC33BA22}" type="pres">
      <dgm:prSet presAssocID="{FB9E8E93-E505-4F61-B986-63526300BB1E}" presName="parentText" presStyleLbl="node1" presStyleIdx="0" presStyleCnt="3">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3">
        <dgm:presLayoutVars>
          <dgm:bulletEnabled val="1"/>
        </dgm:presLayoutVars>
      </dgm:prSet>
      <dgm:spPr/>
    </dgm:pt>
    <dgm:pt modelId="{D0489F86-43E1-45D4-A0BE-724C960BF713}" type="pres">
      <dgm:prSet presAssocID="{D0DB3B49-9806-45F0-815F-F683F3A245D5}" presName="spaceBetweenRectangles" presStyleCnt="0"/>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0" presStyleCnt="3"/>
      <dgm:spPr/>
    </dgm:pt>
    <dgm:pt modelId="{89DAF6F2-441E-411B-A709-5BCA0EF94829}" type="pres">
      <dgm:prSet presAssocID="{FE5806CA-90C0-4767-B9A2-2F5EE4877C19}" presName="parentText" presStyleLbl="node1" presStyleIdx="1" presStyleCnt="3">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1" presStyleCnt="3">
        <dgm:presLayoutVars>
          <dgm:bulletEnabled val="1"/>
        </dgm:presLayoutVars>
      </dgm:prSet>
      <dgm:spPr/>
    </dgm:pt>
    <dgm:pt modelId="{F7B24473-248A-4D66-A263-673091B41BFD}" type="pres">
      <dgm:prSet presAssocID="{8AD0F6F7-C0C1-40C9-ADA4-898FCFDD45FD}" presName="spaceBetweenRectangles" presStyleCnt="0"/>
      <dgm:spPr/>
    </dgm:pt>
    <dgm:pt modelId="{C3B92B33-30E9-4FED-9EB0-7361FC75A8B0}" type="pres">
      <dgm:prSet presAssocID="{3AFF19C7-4FB7-4981-963D-FB9B0279F4D0}" presName="parentLin" presStyleCnt="0"/>
      <dgm:spPr/>
    </dgm:pt>
    <dgm:pt modelId="{D7014629-DD70-4396-AF84-AB072E1F3799}" type="pres">
      <dgm:prSet presAssocID="{3AFF19C7-4FB7-4981-963D-FB9B0279F4D0}" presName="parentLeftMargin" presStyleLbl="node1" presStyleIdx="1" presStyleCnt="3"/>
      <dgm:spPr/>
    </dgm:pt>
    <dgm:pt modelId="{6B0312C1-241B-43B9-994D-378BC3536E11}" type="pres">
      <dgm:prSet presAssocID="{3AFF19C7-4FB7-4981-963D-FB9B0279F4D0}" presName="parentText" presStyleLbl="node1" presStyleIdx="2" presStyleCnt="3">
        <dgm:presLayoutVars>
          <dgm:chMax val="0"/>
          <dgm:bulletEnabled val="1"/>
        </dgm:presLayoutVars>
      </dgm:prSet>
      <dgm:spPr/>
    </dgm:pt>
    <dgm:pt modelId="{FAE20AE1-8295-4B87-BBB7-1BD195346232}" type="pres">
      <dgm:prSet presAssocID="{3AFF19C7-4FB7-4981-963D-FB9B0279F4D0}" presName="negativeSpace" presStyleCnt="0"/>
      <dgm:spPr/>
    </dgm:pt>
    <dgm:pt modelId="{E70FDF43-97D4-43F1-A166-CC843657E64A}" type="pres">
      <dgm:prSet presAssocID="{3AFF19C7-4FB7-4981-963D-FB9B0279F4D0}" presName="childText" presStyleLbl="conFgAcc1" presStyleIdx="2" presStyleCnt="3">
        <dgm:presLayoutVars>
          <dgm:bulletEnabled val="1"/>
        </dgm:presLayoutVars>
      </dgm:prSet>
      <dgm:spPr/>
    </dgm:pt>
  </dgm:ptLst>
  <dgm:cxnLst>
    <dgm:cxn modelId="{315A0B0C-2452-480D-A4EC-138D7DAA0B37}" srcId="{5CAC6E89-8D61-41CE-B485-D446E81BC557}" destId="{FE5806CA-90C0-4767-B9A2-2F5EE4877C19}" srcOrd="1" destOrd="0" parTransId="{F96DDCBE-0EDB-4C65-BE7D-8DC7DCBA7962}" sibTransId="{8AD0F6F7-C0C1-40C9-ADA4-898FCFDD45FD}"/>
    <dgm:cxn modelId="{2E38E30E-9964-4762-97CE-187452CD21A7}" srcId="{5CAC6E89-8D61-41CE-B485-D446E81BC557}" destId="{3AFF19C7-4FB7-4981-963D-FB9B0279F4D0}" srcOrd="2" destOrd="0" parTransId="{D1429087-B8B3-4203-9EC2-F38E7180D623}" sibTransId="{62A27C36-1C92-466C-B34E-C1CEE9C58A9D}"/>
    <dgm:cxn modelId="{91054B0F-CFC9-4B13-8ACC-026099ED3D6F}" srcId="{FB9E8E93-E505-4F61-B986-63526300BB1E}" destId="{A654B2B1-C9D2-4EB8-AF32-8F6E55E2795A}" srcOrd="0" destOrd="0" parTransId="{CBA502F4-88E7-406E-95E5-6DC4445E9C2C}" sibTransId="{9C833BE3-3094-478A-8F33-507752BF4F20}"/>
    <dgm:cxn modelId="{8673A715-E86F-4966-ADD5-ED01AF9532BA}" type="presOf" srcId="{614AC4DC-3D7C-4485-9ED9-3747256BA383}" destId="{124365EB-2ED1-4CFC-8BFA-0B60CA5A2F96}" srcOrd="0" destOrd="2" presId="urn:microsoft.com/office/officeart/2005/8/layout/list1"/>
    <dgm:cxn modelId="{DB5F4716-2FF0-4467-92E5-7C30646C7A44}" srcId="{FE5806CA-90C0-4767-B9A2-2F5EE4877C19}" destId="{47D674B7-EE9A-44C4-8FB3-00F6375BB5B1}" srcOrd="1" destOrd="0" parTransId="{B30BCB0E-B962-46BC-BF9D-13D56C887C1D}" sibTransId="{F4717475-7E8C-454D-88A0-586DA0EFE864}"/>
    <dgm:cxn modelId="{F19BC91D-212D-48C3-B8CF-6D3E65454B2B}" srcId="{3AFF19C7-4FB7-4981-963D-FB9B0279F4D0}" destId="{1BCF9797-E459-420B-B104-D8F80BAAB06D}" srcOrd="1" destOrd="0" parTransId="{63BB9DA9-DEFE-48B2-8EB9-E182991CD2E4}" sibTransId="{A4E578A8-18E1-4EB8-A6A5-C74FA8421828}"/>
    <dgm:cxn modelId="{39B1AA30-348F-40A7-A0ED-67CA2FA20EBE}" type="presOf" srcId="{FE5806CA-90C0-4767-B9A2-2F5EE4877C19}" destId="{89DAF6F2-441E-411B-A709-5BCA0EF94829}" srcOrd="1" destOrd="0" presId="urn:microsoft.com/office/officeart/2005/8/layout/list1"/>
    <dgm:cxn modelId="{7B3CFF33-738D-472F-9E1B-549DC72DD206}" type="presOf" srcId="{7BAEB395-7C64-4B58-BE73-1A7E7AAD2D89}" destId="{E70FDF43-97D4-43F1-A166-CC843657E64A}" srcOrd="0" destOrd="2" presId="urn:microsoft.com/office/officeart/2005/8/layout/list1"/>
    <dgm:cxn modelId="{BD13F25F-FC2A-48F6-BC9A-849DC4BBD562}" type="presOf" srcId="{5CAC6E89-8D61-41CE-B485-D446E81BC557}" destId="{B902A285-C333-498D-BE6D-38566E131EA4}" srcOrd="0" destOrd="0" presId="urn:microsoft.com/office/officeart/2005/8/layout/list1"/>
    <dgm:cxn modelId="{721E3F44-22FC-48AD-8EA1-02FB1F8E180F}" srcId="{FE5806CA-90C0-4767-B9A2-2F5EE4877C19}" destId="{614AC4DC-3D7C-4485-9ED9-3747256BA383}" srcOrd="2" destOrd="0" parTransId="{8909E2FC-8890-4DF7-8F06-0D5F50308B0F}" sibTransId="{7538021C-7AE2-4692-870B-22EDE6C58B9D}"/>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BD8AA270-A3A9-4007-A0B0-DA30F7EF4E39}" type="presOf" srcId="{E3F38637-5B67-40C1-8A63-E0DC8D51860D}" destId="{F2611699-6C85-4FBF-AB47-DBD3C7959DCE}" srcOrd="0" destOrd="1" presId="urn:microsoft.com/office/officeart/2005/8/layout/list1"/>
    <dgm:cxn modelId="{BB80CC54-8992-4DD1-B129-68A2B9E2AD65}" type="presOf" srcId="{1A5DC024-C98D-41AC-934B-0F9055B82568}" destId="{E70FDF43-97D4-43F1-A166-CC843657E64A}" srcOrd="0" destOrd="0" presId="urn:microsoft.com/office/officeart/2005/8/layout/list1"/>
    <dgm:cxn modelId="{24DB0375-3C50-4096-831B-9363FB0F1BBC}" type="presOf" srcId="{3AFF19C7-4FB7-4981-963D-FB9B0279F4D0}" destId="{D7014629-DD70-4396-AF84-AB072E1F3799}" srcOrd="0" destOrd="0" presId="urn:microsoft.com/office/officeart/2005/8/layout/list1"/>
    <dgm:cxn modelId="{101A2488-C020-4429-B5C4-FE1137FD8B00}" type="presOf" srcId="{3AFF19C7-4FB7-4981-963D-FB9B0279F4D0}" destId="{6B0312C1-241B-43B9-994D-378BC3536E11}" srcOrd="1" destOrd="0" presId="urn:microsoft.com/office/officeart/2005/8/layout/list1"/>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7B54DD95-7F9B-45FE-A8F5-72E10F712802}" type="presOf" srcId="{49BD41BE-954A-4AD1-8F76-A297AFF227A0}" destId="{F2611699-6C85-4FBF-AB47-DBD3C7959DCE}" srcOrd="0" destOrd="2" presId="urn:microsoft.com/office/officeart/2005/8/layout/list1"/>
    <dgm:cxn modelId="{BF63739F-8320-44B8-B02A-4B18087C78F2}" type="presOf" srcId="{4E8D47F9-FE34-4FAF-A367-F196B376B973}" destId="{124365EB-2ED1-4CFC-8BFA-0B60CA5A2F96}" srcOrd="0" destOrd="0" presId="urn:microsoft.com/office/officeart/2005/8/layout/list1"/>
    <dgm:cxn modelId="{371DDEA0-7F39-4BA2-9E86-1C9396B68C7E}" type="presOf" srcId="{FE5806CA-90C0-4767-B9A2-2F5EE4877C19}" destId="{D4903FD3-EBAD-47DA-895D-4E6DB67DDCB3}" srcOrd="0" destOrd="0" presId="urn:microsoft.com/office/officeart/2005/8/layout/list1"/>
    <dgm:cxn modelId="{050DE8AF-A709-4162-8A5B-55363E1529E6}" type="presOf" srcId="{1BCF9797-E459-420B-B104-D8F80BAAB06D}" destId="{E70FDF43-97D4-43F1-A166-CC843657E64A}" srcOrd="0" destOrd="1" presId="urn:microsoft.com/office/officeart/2005/8/layout/list1"/>
    <dgm:cxn modelId="{088202BB-006D-40C0-B259-651812E31676}" srcId="{FE5806CA-90C0-4767-B9A2-2F5EE4877C19}" destId="{4E8D47F9-FE34-4FAF-A367-F196B376B973}" srcOrd="0" destOrd="0" parTransId="{91571845-7B66-4F17-A30F-025308713C63}" sibTransId="{1E3C7AB8-1C23-4A00-8DE4-321D8EA0C88E}"/>
    <dgm:cxn modelId="{0068D1C3-00A4-4EA4-9BCA-E3ACC1F14018}" srcId="{FB9E8E93-E505-4F61-B986-63526300BB1E}" destId="{49BD41BE-954A-4AD1-8F76-A297AFF227A0}" srcOrd="2" destOrd="0" parTransId="{B4A36FE5-A725-4038-A461-B904A61B1297}" sibTransId="{E92F2E00-F93E-4E77-AB04-865DA4CF2A66}"/>
    <dgm:cxn modelId="{E1B05AD1-4B6A-4028-B6B7-0FCC7A5AB809}" type="presOf" srcId="{47D674B7-EE9A-44C4-8FB3-00F6375BB5B1}" destId="{124365EB-2ED1-4CFC-8BFA-0B60CA5A2F96}" srcOrd="0" destOrd="1" presId="urn:microsoft.com/office/officeart/2005/8/layout/list1"/>
    <dgm:cxn modelId="{E520AFE4-87A3-49C2-8CA3-A18830BBA01A}" srcId="{FB9E8E93-E505-4F61-B986-63526300BB1E}" destId="{E3F38637-5B67-40C1-8A63-E0DC8D51860D}" srcOrd="1" destOrd="0" parTransId="{D78B2B48-E9D1-4015-85FD-541592C4F4C6}" sibTransId="{11EBDD95-CB59-4214-8C3C-2FE5D7CD2F11}"/>
    <dgm:cxn modelId="{95016AE8-7DF7-42F3-A62A-DE0E7C123201}" srcId="{3AFF19C7-4FB7-4981-963D-FB9B0279F4D0}" destId="{1A5DC024-C98D-41AC-934B-0F9055B82568}" srcOrd="0" destOrd="0" parTransId="{F3469BB2-0E36-4A27-9F3C-05231FFDA38E}" sibTransId="{EF2650D1-43E7-4C51-8A3E-0B42066783AF}"/>
    <dgm:cxn modelId="{D3A2CFF1-8C3C-40EC-ABD5-A3EE5F5611F1}" srcId="{3AFF19C7-4FB7-4981-963D-FB9B0279F4D0}" destId="{7BAEB395-7C64-4B58-BE73-1A7E7AAD2D89}" srcOrd="2" destOrd="0" parTransId="{806A76F8-D6F0-4EE6-8A64-AE2C577BBBD4}" sibTransId="{7C66253B-5D2E-4856-B164-F1F4E872A393}"/>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03C56002-CFE6-4902-A1F6-404AD2FC0EA3}" type="presParOf" srcId="{B902A285-C333-498D-BE6D-38566E131EA4}" destId="{5AE72953-0E1D-41F4-A43D-0511D75F9A4B}" srcOrd="4"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5" destOrd="0" presId="urn:microsoft.com/office/officeart/2005/8/layout/list1"/>
    <dgm:cxn modelId="{CA415FCA-9ED4-4CC4-BA3C-2A8588374D78}" type="presParOf" srcId="{B902A285-C333-498D-BE6D-38566E131EA4}" destId="{124365EB-2ED1-4CFC-8BFA-0B60CA5A2F96}" srcOrd="6" destOrd="0" presId="urn:microsoft.com/office/officeart/2005/8/layout/list1"/>
    <dgm:cxn modelId="{FC951384-840E-4DCE-98BF-EB6010449E09}" type="presParOf" srcId="{B902A285-C333-498D-BE6D-38566E131EA4}" destId="{F7B24473-248A-4D66-A263-673091B41BFD}" srcOrd="7" destOrd="0" presId="urn:microsoft.com/office/officeart/2005/8/layout/list1"/>
    <dgm:cxn modelId="{5B63EFFF-98A2-4E49-A7EE-C4F899414CD9}" type="presParOf" srcId="{B902A285-C333-498D-BE6D-38566E131EA4}" destId="{C3B92B33-30E9-4FED-9EB0-7361FC75A8B0}" srcOrd="8" destOrd="0" presId="urn:microsoft.com/office/officeart/2005/8/layout/list1"/>
    <dgm:cxn modelId="{DCC90457-074F-49B4-8827-EC81CFC63B64}" type="presParOf" srcId="{C3B92B33-30E9-4FED-9EB0-7361FC75A8B0}" destId="{D7014629-DD70-4396-AF84-AB072E1F3799}" srcOrd="0" destOrd="0" presId="urn:microsoft.com/office/officeart/2005/8/layout/list1"/>
    <dgm:cxn modelId="{4006C4AB-26B6-45F4-884C-F0507B5414C1}" type="presParOf" srcId="{C3B92B33-30E9-4FED-9EB0-7361FC75A8B0}" destId="{6B0312C1-241B-43B9-994D-378BC3536E11}" srcOrd="1" destOrd="0" presId="urn:microsoft.com/office/officeart/2005/8/layout/list1"/>
    <dgm:cxn modelId="{F53F38D2-7191-43B7-ABCA-DD132064D178}" type="presParOf" srcId="{B902A285-C333-498D-BE6D-38566E131EA4}" destId="{FAE20AE1-8295-4B87-BBB7-1BD195346232}" srcOrd="9" destOrd="0" presId="urn:microsoft.com/office/officeart/2005/8/layout/list1"/>
    <dgm:cxn modelId="{6241E5A5-4C68-4D80-B25E-E18C92602D95}" type="presParOf" srcId="{B902A285-C333-498D-BE6D-38566E131EA4}" destId="{E70FDF43-97D4-43F1-A166-CC843657E64A}" srcOrd="10"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chemeClr val="tx2">
            <a:lumMod val="60000"/>
            <a:lumOff val="40000"/>
          </a:schemeClr>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chemeClr val="tx2">
            <a:lumMod val="60000"/>
            <a:lumOff val="40000"/>
          </a:schemeClr>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chemeClr val="tx2">
            <a:lumMod val="60000"/>
            <a:lumOff val="40000"/>
          </a:schemeClr>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dirty="0"/>
            <a:t>DOP Feedback</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FB9E8E93-E505-4F61-B986-63526300BB1E}">
      <dgm:prSet phldrT="[Text]" phldr="0"/>
      <dgm:spPr/>
      <dgm:t>
        <a:bodyPr/>
        <a:lstStyle/>
        <a:p>
          <a:r>
            <a:rPr lang="en-US" b="1" dirty="0"/>
            <a:t>Parallelism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dirty="0"/>
            <a:t>Parallelism is often beneficial for querying large amounts of data, but transactional queries could suffer when time spent coordinating threads outweighs the advantages of using a parallel plan</a:t>
          </a:r>
          <a:endParaRPr lang="en-US"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03570B6-A9B3-4503-9657-40D4D8DA2DBE}">
      <dgm:prSet/>
      <dgm:spPr/>
      <dgm:t>
        <a:bodyPr/>
        <a:lstStyle/>
        <a:p>
          <a:r>
            <a:rPr lang="en-US" dirty="0"/>
            <a:t>Before SQL Server 2019, default value for MAXDOP = 0</a:t>
          </a:r>
        </a:p>
      </dgm:t>
    </dgm:pt>
    <dgm:pt modelId="{536C0EB9-D4E7-47EC-91E3-67CC6342F1D7}" type="parTrans" cxnId="{CC9C692B-A428-4FFE-A59D-800E099B7A27}">
      <dgm:prSet/>
      <dgm:spPr/>
      <dgm:t>
        <a:bodyPr/>
        <a:lstStyle/>
        <a:p>
          <a:endParaRPr lang="en-US"/>
        </a:p>
      </dgm:t>
    </dgm:pt>
    <dgm:pt modelId="{E2A3079E-CE9A-4ACA-9C99-48A993D554B8}" type="sibTrans" cxnId="{CC9C692B-A428-4FFE-A59D-800E099B7A27}">
      <dgm:prSet/>
      <dgm:spPr/>
      <dgm:t>
        <a:bodyPr/>
        <a:lstStyle/>
        <a:p>
          <a:endParaRPr lang="en-US"/>
        </a:p>
      </dgm:t>
    </dgm:pt>
    <dgm:pt modelId="{CD3390C5-B5ED-4CF6-8651-FDC2FADFFB4C}">
      <dgm:prSet/>
      <dgm:spPr/>
      <dgm:t>
        <a:bodyPr/>
        <a:lstStyle/>
        <a:p>
          <a:r>
            <a:rPr lang="en-US" dirty="0"/>
            <a:t>With SQL Server 2019, default is calculated at setup based on available processors</a:t>
          </a:r>
        </a:p>
      </dgm:t>
    </dgm:pt>
    <dgm:pt modelId="{E4963137-255C-411C-AF8E-E645BCC670A4}" type="parTrans" cxnId="{66E2F010-7EBB-4CD5-A78A-492D6EBB0527}">
      <dgm:prSet/>
      <dgm:spPr/>
      <dgm:t>
        <a:bodyPr/>
        <a:lstStyle/>
        <a:p>
          <a:endParaRPr lang="en-US"/>
        </a:p>
      </dgm:t>
    </dgm:pt>
    <dgm:pt modelId="{71CFB2F1-9104-490B-82D6-0ECA54A7CBF8}" type="sibTrans" cxnId="{66E2F010-7EBB-4CD5-A78A-492D6EBB0527}">
      <dgm:prSet/>
      <dgm:spPr/>
      <dgm:t>
        <a:bodyPr/>
        <a:lstStyle/>
        <a:p>
          <a:endParaRPr lang="en-US"/>
        </a:p>
      </dgm:t>
    </dgm:pt>
    <dgm:pt modelId="{715AF04F-B7A2-437F-85DA-D25523220840}">
      <dgm:prSet/>
      <dgm:spPr/>
      <dgm:t>
        <a:bodyPr/>
        <a:lstStyle/>
        <a:p>
          <a:r>
            <a:rPr lang="en-US" dirty="0"/>
            <a:t>Azure SQL Database the default MAXDOP is 8</a:t>
          </a:r>
        </a:p>
      </dgm:t>
    </dgm:pt>
    <dgm:pt modelId="{0FF78EAF-9828-428C-8E62-5D1B553879CB}" type="parTrans" cxnId="{D971CF58-1CD5-4308-81CA-60ECAE8EC988}">
      <dgm:prSet/>
      <dgm:spPr/>
      <dgm:t>
        <a:bodyPr/>
        <a:lstStyle/>
        <a:p>
          <a:endParaRPr lang="en-US"/>
        </a:p>
      </dgm:t>
    </dgm:pt>
    <dgm:pt modelId="{54B48445-0B2B-4122-822D-7B5F3AC616C0}" type="sibTrans" cxnId="{D971CF58-1CD5-4308-81CA-60ECAE8EC988}">
      <dgm:prSet/>
      <dgm:spPr/>
      <dgm:t>
        <a:bodyPr/>
        <a:lstStyle/>
        <a:p>
          <a:endParaRPr lang="en-US"/>
        </a:p>
      </dgm:t>
    </dgm:pt>
    <dgm:pt modelId="{FECC6121-E28F-4BE0-AE1C-747308641080}">
      <dgm:prSet phldrT="[Text]" phldr="0"/>
      <dgm:spPr/>
      <dgm:t>
        <a:bodyPr/>
        <a:lstStyle/>
        <a:p>
          <a:r>
            <a:rPr lang="en-US" b="1" dirty="0"/>
            <a:t>Current Settings</a:t>
          </a:r>
        </a:p>
      </dgm:t>
    </dgm:pt>
    <dgm:pt modelId="{906B4977-F3E5-4B93-83EB-11FC5247CDFD}" type="parTrans" cxnId="{A27048B4-F2AE-411E-BF82-923F64C4A9B5}">
      <dgm:prSet/>
      <dgm:spPr/>
      <dgm:t>
        <a:bodyPr/>
        <a:lstStyle/>
        <a:p>
          <a:endParaRPr lang="en-US"/>
        </a:p>
      </dgm:t>
    </dgm:pt>
    <dgm:pt modelId="{01681DA4-66CE-4A55-A9E2-6D4658A7195F}" type="sibTrans" cxnId="{A27048B4-F2AE-411E-BF82-923F64C4A9B5}">
      <dgm:prSet/>
      <dgm:spPr/>
      <dgm:t>
        <a:bodyPr/>
        <a:lstStyle/>
        <a:p>
          <a:endParaRPr lang="en-US"/>
        </a:p>
      </dgm:t>
    </dgm:pt>
    <dgm:pt modelId="{12F08BDA-57A7-4FF3-895B-9B22D1EAB9B0}">
      <dgm:prSet/>
      <dgm:spPr/>
      <dgm:t>
        <a:bodyPr/>
        <a:lstStyle/>
        <a:p>
          <a:r>
            <a:rPr lang="en-US" dirty="0">
              <a:latin typeface="Segoe UI" panose="020B0502040204020203" pitchFamily="34" charset="0"/>
              <a:cs typeface="Segoe UI" panose="020B0502040204020203" pitchFamily="34" charset="0"/>
            </a:rPr>
            <a:t>DOP Feedback will </a:t>
          </a:r>
          <a:r>
            <a:rPr lang="en-US" b="1" dirty="0">
              <a:latin typeface="Segoe UI" panose="020B0502040204020203" pitchFamily="34" charset="0"/>
              <a:cs typeface="Segoe UI" panose="020B0502040204020203" pitchFamily="34" charset="0"/>
            </a:rPr>
            <a:t>identify</a:t>
          </a:r>
          <a:r>
            <a:rPr lang="en-US" dirty="0">
              <a:latin typeface="Segoe UI" panose="020B0502040204020203" pitchFamily="34" charset="0"/>
              <a:cs typeface="Segoe UI" panose="020B0502040204020203" pitchFamily="34" charset="0"/>
            </a:rPr>
            <a:t> parallelism inefficiencies for repeating queries, based on CPU time, elapsed time, and waits</a:t>
          </a:r>
          <a:endParaRPr lang="en-US" dirty="0"/>
        </a:p>
      </dgm:t>
    </dgm:pt>
    <dgm:pt modelId="{ABF79460-88DA-4FC5-A7F7-D1752E248B8C}" type="parTrans" cxnId="{B58CE673-2319-4ACB-A6A4-C6A479151A8E}">
      <dgm:prSet/>
      <dgm:spPr/>
      <dgm:t>
        <a:bodyPr/>
        <a:lstStyle/>
        <a:p>
          <a:endParaRPr lang="en-US"/>
        </a:p>
      </dgm:t>
    </dgm:pt>
    <dgm:pt modelId="{55E71A34-202E-4936-B3BE-26019DF70DCC}" type="sibTrans" cxnId="{B58CE673-2319-4ACB-A6A4-C6A479151A8E}">
      <dgm:prSet/>
      <dgm:spPr/>
      <dgm:t>
        <a:bodyPr/>
        <a:lstStyle/>
        <a:p>
          <a:endParaRPr lang="en-US"/>
        </a:p>
      </dgm:t>
    </dgm:pt>
    <dgm:pt modelId="{3FD2F8FB-3974-4614-A20C-74435C60E6DC}">
      <dgm:prSet/>
      <dgm:spPr/>
      <dgm:t>
        <a:bodyPr/>
        <a:lstStyle/>
        <a:p>
          <a:r>
            <a:rPr lang="en-US" dirty="0">
              <a:latin typeface="Segoe UI" panose="020B0502040204020203" pitchFamily="34" charset="0"/>
              <a:cs typeface="Segoe UI" panose="020B0502040204020203" pitchFamily="34" charset="0"/>
            </a:rPr>
            <a:t>If parallelism usage is inefficient, the DOP will be </a:t>
          </a:r>
          <a:r>
            <a:rPr lang="en-US" b="1" dirty="0">
              <a:latin typeface="Segoe UI" panose="020B0502040204020203" pitchFamily="34" charset="0"/>
              <a:cs typeface="Segoe UI" panose="020B0502040204020203" pitchFamily="34" charset="0"/>
            </a:rPr>
            <a:t>lowered</a:t>
          </a:r>
          <a:r>
            <a:rPr lang="en-US" dirty="0">
              <a:latin typeface="Segoe UI" panose="020B0502040204020203" pitchFamily="34" charset="0"/>
              <a:cs typeface="Segoe UI" panose="020B0502040204020203" pitchFamily="34" charset="0"/>
            </a:rPr>
            <a:t> for next execution (min DOP = 2) and then </a:t>
          </a:r>
          <a:r>
            <a:rPr lang="en-US" b="1" dirty="0">
              <a:latin typeface="Segoe UI" panose="020B0502040204020203" pitchFamily="34" charset="0"/>
              <a:cs typeface="Segoe UI" panose="020B0502040204020203" pitchFamily="34" charset="0"/>
            </a:rPr>
            <a:t>verify</a:t>
          </a:r>
          <a:r>
            <a:rPr lang="en-US" dirty="0">
              <a:latin typeface="Segoe UI" panose="020B0502040204020203" pitchFamily="34" charset="0"/>
              <a:cs typeface="Segoe UI" panose="020B0502040204020203" pitchFamily="34" charset="0"/>
            </a:rPr>
            <a:t> if it helps</a:t>
          </a:r>
        </a:p>
      </dgm:t>
    </dgm:pt>
    <dgm:pt modelId="{633B7F0E-2020-4E7A-9252-35C3EBFCD873}" type="parTrans" cxnId="{D6538099-D950-42F8-BE1A-98BC271B4069}">
      <dgm:prSet/>
      <dgm:spPr/>
      <dgm:t>
        <a:bodyPr/>
        <a:lstStyle/>
        <a:p>
          <a:endParaRPr lang="en-US"/>
        </a:p>
      </dgm:t>
    </dgm:pt>
    <dgm:pt modelId="{7626595A-96F7-4521-AA4E-A8651A9224F5}" type="sibTrans" cxnId="{D6538099-D950-42F8-BE1A-98BC271B4069}">
      <dgm:prSet/>
      <dgm:spPr/>
      <dgm:t>
        <a:bodyPr/>
        <a:lstStyle/>
        <a:p>
          <a:endParaRPr lang="en-US"/>
        </a:p>
      </dgm:t>
    </dgm:pt>
    <dgm:pt modelId="{4389B85E-87DA-4006-A2EA-F0A7CD439F99}">
      <dgm:prSet/>
      <dgm:spPr/>
      <dgm:t>
        <a:bodyPr/>
        <a:lstStyle/>
        <a:p>
          <a:r>
            <a:rPr lang="en-US" dirty="0"/>
            <a:t>Only verified feedback is persisted (Query Store). </a:t>
          </a:r>
          <a:br>
            <a:rPr lang="en-US" dirty="0"/>
          </a:br>
          <a:r>
            <a:rPr lang="en-US" dirty="0"/>
            <a:t>- If next execution regresses, back to last good known DOP </a:t>
          </a:r>
          <a:endParaRPr lang="en-US"/>
        </a:p>
      </dgm:t>
    </dgm:pt>
    <dgm:pt modelId="{325CC019-E57C-4F3F-B7F3-13AF2DACA5C7}" type="parTrans" cxnId="{AF1FF90B-D31F-4EE0-A835-B5A85964E2DB}">
      <dgm:prSet/>
      <dgm:spPr/>
      <dgm:t>
        <a:bodyPr/>
        <a:lstStyle/>
        <a:p>
          <a:endParaRPr lang="en-US"/>
        </a:p>
      </dgm:t>
    </dgm:pt>
    <dgm:pt modelId="{5AF8CD0A-0046-4595-AD8A-9195F431C1B2}" type="sibTrans" cxnId="{AF1FF90B-D31F-4EE0-A835-B5A85964E2DB}">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3"/>
      <dgm:spPr/>
    </dgm:pt>
    <dgm:pt modelId="{09DF4224-3D80-47D7-B2BA-0A0BBC33BA22}" type="pres">
      <dgm:prSet presAssocID="{FB9E8E93-E505-4F61-B986-63526300BB1E}" presName="parentText" presStyleLbl="node1" presStyleIdx="0" presStyleCnt="3">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3">
        <dgm:presLayoutVars>
          <dgm:bulletEnabled val="1"/>
        </dgm:presLayoutVars>
      </dgm:prSet>
      <dgm:spPr/>
    </dgm:pt>
    <dgm:pt modelId="{D0489F86-43E1-45D4-A0BE-724C960BF713}" type="pres">
      <dgm:prSet presAssocID="{D0DB3B49-9806-45F0-815F-F683F3A245D5}" presName="spaceBetweenRectangles" presStyleCnt="0"/>
      <dgm:spPr/>
    </dgm:pt>
    <dgm:pt modelId="{60F703C6-E9B5-4E10-87DC-F22DE0392E69}" type="pres">
      <dgm:prSet presAssocID="{FECC6121-E28F-4BE0-AE1C-747308641080}" presName="parentLin" presStyleCnt="0"/>
      <dgm:spPr/>
    </dgm:pt>
    <dgm:pt modelId="{650EC44F-F836-4943-AC39-1C53DC90C16F}" type="pres">
      <dgm:prSet presAssocID="{FECC6121-E28F-4BE0-AE1C-747308641080}" presName="parentLeftMargin" presStyleLbl="node1" presStyleIdx="0" presStyleCnt="3"/>
      <dgm:spPr/>
    </dgm:pt>
    <dgm:pt modelId="{8EDC92CE-1AB4-4FAD-8EB9-3304E9FB1C42}" type="pres">
      <dgm:prSet presAssocID="{FECC6121-E28F-4BE0-AE1C-747308641080}" presName="parentText" presStyleLbl="node1" presStyleIdx="1" presStyleCnt="3">
        <dgm:presLayoutVars>
          <dgm:chMax val="0"/>
          <dgm:bulletEnabled val="1"/>
        </dgm:presLayoutVars>
      </dgm:prSet>
      <dgm:spPr/>
    </dgm:pt>
    <dgm:pt modelId="{F6542E23-8949-4197-AC32-5529996D8DDA}" type="pres">
      <dgm:prSet presAssocID="{FECC6121-E28F-4BE0-AE1C-747308641080}" presName="negativeSpace" presStyleCnt="0"/>
      <dgm:spPr/>
    </dgm:pt>
    <dgm:pt modelId="{1738A5E9-7294-453F-BC26-FB76949CBB6D}" type="pres">
      <dgm:prSet presAssocID="{FECC6121-E28F-4BE0-AE1C-747308641080}" presName="childText" presStyleLbl="conFgAcc1" presStyleIdx="1" presStyleCnt="3">
        <dgm:presLayoutVars>
          <dgm:bulletEnabled val="1"/>
        </dgm:presLayoutVars>
      </dgm:prSet>
      <dgm:spPr/>
    </dgm:pt>
    <dgm:pt modelId="{8B44DBAF-0D95-4F0B-B42F-00002549F9AE}" type="pres">
      <dgm:prSet presAssocID="{01681DA4-66CE-4A55-A9E2-6D4658A7195F}" presName="spaceBetweenRectangles" presStyleCnt="0"/>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1" presStyleCnt="3"/>
      <dgm:spPr/>
    </dgm:pt>
    <dgm:pt modelId="{89DAF6F2-441E-411B-A709-5BCA0EF94829}" type="pres">
      <dgm:prSet presAssocID="{FE5806CA-90C0-4767-B9A2-2F5EE4877C19}" presName="parentText" presStyleLbl="node1" presStyleIdx="2" presStyleCnt="3">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2" presStyleCnt="3">
        <dgm:presLayoutVars>
          <dgm:bulletEnabled val="1"/>
        </dgm:presLayoutVars>
      </dgm:prSet>
      <dgm:spPr/>
    </dgm:pt>
  </dgm:ptLst>
  <dgm:cxnLst>
    <dgm:cxn modelId="{AF1FF90B-D31F-4EE0-A835-B5A85964E2DB}" srcId="{FE5806CA-90C0-4767-B9A2-2F5EE4877C19}" destId="{4389B85E-87DA-4006-A2EA-F0A7CD439F99}" srcOrd="2" destOrd="0" parTransId="{325CC019-E57C-4F3F-B7F3-13AF2DACA5C7}" sibTransId="{5AF8CD0A-0046-4595-AD8A-9195F431C1B2}"/>
    <dgm:cxn modelId="{315A0B0C-2452-480D-A4EC-138D7DAA0B37}" srcId="{5CAC6E89-8D61-41CE-B485-D446E81BC557}" destId="{FE5806CA-90C0-4767-B9A2-2F5EE4877C19}" srcOrd="2" destOrd="0" parTransId="{F96DDCBE-0EDB-4C65-BE7D-8DC7DCBA7962}" sibTransId="{8AD0F6F7-C0C1-40C9-ADA4-898FCFDD45FD}"/>
    <dgm:cxn modelId="{91054B0F-CFC9-4B13-8ACC-026099ED3D6F}" srcId="{FB9E8E93-E505-4F61-B986-63526300BB1E}" destId="{A654B2B1-C9D2-4EB8-AF32-8F6E55E2795A}" srcOrd="0" destOrd="0" parTransId="{CBA502F4-88E7-406E-95E5-6DC4445E9C2C}" sibTransId="{9C833BE3-3094-478A-8F33-507752BF4F20}"/>
    <dgm:cxn modelId="{66E2F010-7EBB-4CD5-A78A-492D6EBB0527}" srcId="{FECC6121-E28F-4BE0-AE1C-747308641080}" destId="{CD3390C5-B5ED-4CF6-8651-FDC2FADFFB4C}" srcOrd="1" destOrd="0" parTransId="{E4963137-255C-411C-AF8E-E645BCC670A4}" sibTransId="{71CFB2F1-9104-490B-82D6-0ECA54A7CBF8}"/>
    <dgm:cxn modelId="{81D06E28-6D2F-4E41-A2ED-EB87263E7103}" type="presOf" srcId="{4389B85E-87DA-4006-A2EA-F0A7CD439F99}" destId="{124365EB-2ED1-4CFC-8BFA-0B60CA5A2F96}" srcOrd="0" destOrd="2" presId="urn:microsoft.com/office/officeart/2005/8/layout/list1"/>
    <dgm:cxn modelId="{CC9C692B-A428-4FFE-A59D-800E099B7A27}" srcId="{FECC6121-E28F-4BE0-AE1C-747308641080}" destId="{603570B6-A9B3-4503-9657-40D4D8DA2DBE}" srcOrd="0" destOrd="0" parTransId="{536C0EB9-D4E7-47EC-91E3-67CC6342F1D7}" sibTransId="{E2A3079E-CE9A-4ACA-9C99-48A993D554B8}"/>
    <dgm:cxn modelId="{39B1AA30-348F-40A7-A0ED-67CA2FA20EBE}" type="presOf" srcId="{FE5806CA-90C0-4767-B9A2-2F5EE4877C19}" destId="{89DAF6F2-441E-411B-A709-5BCA0EF94829}" srcOrd="1" destOrd="0" presId="urn:microsoft.com/office/officeart/2005/8/layout/list1"/>
    <dgm:cxn modelId="{6E27E134-C0E9-4CA1-89F6-87126E44F68A}" type="presOf" srcId="{715AF04F-B7A2-437F-85DA-D25523220840}" destId="{1738A5E9-7294-453F-BC26-FB76949CBB6D}" srcOrd="0" destOrd="2" presId="urn:microsoft.com/office/officeart/2005/8/layout/list1"/>
    <dgm:cxn modelId="{BD13F25F-FC2A-48F6-BC9A-849DC4BBD562}" type="presOf" srcId="{5CAC6E89-8D61-41CE-B485-D446E81BC557}" destId="{B902A285-C333-498D-BE6D-38566E131EA4}" srcOrd="0" destOrd="0" presId="urn:microsoft.com/office/officeart/2005/8/layout/list1"/>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4E0B036F-865D-434A-8BF8-AE78B2E3BB72}" type="presOf" srcId="{FECC6121-E28F-4BE0-AE1C-747308641080}" destId="{8EDC92CE-1AB4-4FAD-8EB9-3304E9FB1C42}" srcOrd="1" destOrd="0" presId="urn:microsoft.com/office/officeart/2005/8/layout/list1"/>
    <dgm:cxn modelId="{B58CE673-2319-4ACB-A6A4-C6A479151A8E}" srcId="{FE5806CA-90C0-4767-B9A2-2F5EE4877C19}" destId="{12F08BDA-57A7-4FF3-895B-9B22D1EAB9B0}" srcOrd="0" destOrd="0" parTransId="{ABF79460-88DA-4FC5-A7F7-D1752E248B8C}" sibTransId="{55E71A34-202E-4936-B3BE-26019DF70DCC}"/>
    <dgm:cxn modelId="{A82AF974-8363-4B9A-ADEE-2D65943A2F65}" type="presOf" srcId="{3FD2F8FB-3974-4614-A20C-74435C60E6DC}" destId="{124365EB-2ED1-4CFC-8BFA-0B60CA5A2F96}" srcOrd="0" destOrd="1" presId="urn:microsoft.com/office/officeart/2005/8/layout/list1"/>
    <dgm:cxn modelId="{D971CF58-1CD5-4308-81CA-60ECAE8EC988}" srcId="{FECC6121-E28F-4BE0-AE1C-747308641080}" destId="{715AF04F-B7A2-437F-85DA-D25523220840}" srcOrd="2" destOrd="0" parTransId="{0FF78EAF-9828-428C-8E62-5D1B553879CB}" sibTransId="{54B48445-0B2B-4122-822D-7B5F3AC616C0}"/>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D6538099-D950-42F8-BE1A-98BC271B4069}" srcId="{FE5806CA-90C0-4767-B9A2-2F5EE4877C19}" destId="{3FD2F8FB-3974-4614-A20C-74435C60E6DC}" srcOrd="1" destOrd="0" parTransId="{633B7F0E-2020-4E7A-9252-35C3EBFCD873}" sibTransId="{7626595A-96F7-4521-AA4E-A8651A9224F5}"/>
    <dgm:cxn modelId="{371DDEA0-7F39-4BA2-9E86-1C9396B68C7E}" type="presOf" srcId="{FE5806CA-90C0-4767-B9A2-2F5EE4877C19}" destId="{D4903FD3-EBAD-47DA-895D-4E6DB67DDCB3}" srcOrd="0" destOrd="0" presId="urn:microsoft.com/office/officeart/2005/8/layout/list1"/>
    <dgm:cxn modelId="{A27048B4-F2AE-411E-BF82-923F64C4A9B5}" srcId="{5CAC6E89-8D61-41CE-B485-D446E81BC557}" destId="{FECC6121-E28F-4BE0-AE1C-747308641080}" srcOrd="1" destOrd="0" parTransId="{906B4977-F3E5-4B93-83EB-11FC5247CDFD}" sibTransId="{01681DA4-66CE-4A55-A9E2-6D4658A7195F}"/>
    <dgm:cxn modelId="{D4E422B6-CA8F-4780-9814-A494B8FCA92F}" type="presOf" srcId="{603570B6-A9B3-4503-9657-40D4D8DA2DBE}" destId="{1738A5E9-7294-453F-BC26-FB76949CBB6D}" srcOrd="0" destOrd="0" presId="urn:microsoft.com/office/officeart/2005/8/layout/list1"/>
    <dgm:cxn modelId="{F87393B6-E8D1-4463-8026-32637012E1AC}" type="presOf" srcId="{CD3390C5-B5ED-4CF6-8651-FDC2FADFFB4C}" destId="{1738A5E9-7294-453F-BC26-FB76949CBB6D}" srcOrd="0" destOrd="1" presId="urn:microsoft.com/office/officeart/2005/8/layout/list1"/>
    <dgm:cxn modelId="{476C2DE1-A147-4CE6-BF16-7EDD238C08F0}" type="presOf" srcId="{12F08BDA-57A7-4FF3-895B-9B22D1EAB9B0}" destId="{124365EB-2ED1-4CFC-8BFA-0B60CA5A2F96}" srcOrd="0" destOrd="0" presId="urn:microsoft.com/office/officeart/2005/8/layout/list1"/>
    <dgm:cxn modelId="{3D8184FC-8811-4F13-A9F7-E1350DD7C337}" type="presOf" srcId="{FECC6121-E28F-4BE0-AE1C-747308641080}" destId="{650EC44F-F836-4943-AC39-1C53DC90C16F}" srcOrd="0" destOrd="0" presId="urn:microsoft.com/office/officeart/2005/8/layout/list1"/>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D85329F5-A0ED-447E-B9FF-F09FF432CD6D}" type="presParOf" srcId="{B902A285-C333-498D-BE6D-38566E131EA4}" destId="{60F703C6-E9B5-4E10-87DC-F22DE0392E69}" srcOrd="4" destOrd="0" presId="urn:microsoft.com/office/officeart/2005/8/layout/list1"/>
    <dgm:cxn modelId="{103FE61F-F59B-4B81-8C78-AD21807B1B9D}" type="presParOf" srcId="{60F703C6-E9B5-4E10-87DC-F22DE0392E69}" destId="{650EC44F-F836-4943-AC39-1C53DC90C16F}" srcOrd="0" destOrd="0" presId="urn:microsoft.com/office/officeart/2005/8/layout/list1"/>
    <dgm:cxn modelId="{E51A4FB5-3ECA-4FCE-A08D-BFB6F06288E2}" type="presParOf" srcId="{60F703C6-E9B5-4E10-87DC-F22DE0392E69}" destId="{8EDC92CE-1AB4-4FAD-8EB9-3304E9FB1C42}" srcOrd="1" destOrd="0" presId="urn:microsoft.com/office/officeart/2005/8/layout/list1"/>
    <dgm:cxn modelId="{2ACE633E-357C-41BE-8F0B-D778BC180406}" type="presParOf" srcId="{B902A285-C333-498D-BE6D-38566E131EA4}" destId="{F6542E23-8949-4197-AC32-5529996D8DDA}" srcOrd="5" destOrd="0" presId="urn:microsoft.com/office/officeart/2005/8/layout/list1"/>
    <dgm:cxn modelId="{C473E3CD-4F89-4E4A-8A9F-0CE7A04ED38B}" type="presParOf" srcId="{B902A285-C333-498D-BE6D-38566E131EA4}" destId="{1738A5E9-7294-453F-BC26-FB76949CBB6D}" srcOrd="6" destOrd="0" presId="urn:microsoft.com/office/officeart/2005/8/layout/list1"/>
    <dgm:cxn modelId="{968F8EEC-4F9A-4873-94C4-9F07DB5D2A14}" type="presParOf" srcId="{B902A285-C333-498D-BE6D-38566E131EA4}" destId="{8B44DBAF-0D95-4F0B-B42F-00002549F9AE}" srcOrd="7" destOrd="0" presId="urn:microsoft.com/office/officeart/2005/8/layout/list1"/>
    <dgm:cxn modelId="{03C56002-CFE6-4902-A1F6-404AD2FC0EA3}" type="presParOf" srcId="{B902A285-C333-498D-BE6D-38566E131EA4}" destId="{5AE72953-0E1D-41F4-A43D-0511D75F9A4B}" srcOrd="8"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9" destOrd="0" presId="urn:microsoft.com/office/officeart/2005/8/layout/list1"/>
    <dgm:cxn modelId="{CA415FCA-9ED4-4CC4-BA3C-2A8588374D78}" type="presParOf" srcId="{B902A285-C333-498D-BE6D-38566E131EA4}" destId="{124365EB-2ED1-4CFC-8BFA-0B60CA5A2F96}" srcOrd="10"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E540B51E-821D-499B-8E8A-283C744D1028}" type="asst">
      <dgm:prSet phldrT="[Text]"/>
      <dgm:spPr>
        <a:solidFill>
          <a:schemeClr val="tx2">
            <a:lumMod val="60000"/>
            <a:lumOff val="40000"/>
          </a:schemeClr>
        </a:solidFill>
      </dgm:spPr>
      <dgm:t>
        <a:bodyPr/>
        <a:lstStyle/>
        <a:p>
          <a:r>
            <a:rPr lang="en-US" dirty="0"/>
            <a:t>Optimized Plan Forcing</a:t>
          </a:r>
        </a:p>
      </dgm:t>
    </dgm:pt>
    <dgm:pt modelId="{36F85DE1-4833-4F9B-AB40-91D8789B57FA}" type="parTrans" cxnId="{2FCEE76E-8425-4BE4-8442-8BBB8ACB5944}">
      <dgm:prSet/>
      <dgm:spPr/>
      <dgm:t>
        <a:bodyPr/>
        <a:lstStyle/>
        <a:p>
          <a:endParaRPr lang="en-US"/>
        </a:p>
      </dgm:t>
    </dgm:pt>
    <dgm:pt modelId="{851F54E2-E7B5-49BF-A19B-9E840E87866B}" type="sibTrans" cxnId="{2FCEE76E-8425-4BE4-8442-8BBB8ACB5944}">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8DDD6173-394C-4FB2-BC82-61F43C652D15}" type="pres">
      <dgm:prSet presAssocID="{36F85DE1-4833-4F9B-AB40-91D8789B57FA}" presName="Name19" presStyleLbl="parChTrans1D2" presStyleIdx="5" presStyleCnt="7"/>
      <dgm:spPr/>
    </dgm:pt>
    <dgm:pt modelId="{EBB167F8-868F-483A-96A1-09A367CCA3F0}" type="pres">
      <dgm:prSet presAssocID="{E540B51E-821D-499B-8E8A-283C744D1028}" presName="Name21" presStyleCnt="0"/>
      <dgm:spPr/>
    </dgm:pt>
    <dgm:pt modelId="{15D99110-6036-4A11-BDFA-BD4F32352803}" type="pres">
      <dgm:prSet presAssocID="{E540B51E-821D-499B-8E8A-283C744D1028}" presName="level2Shape" presStyleLbl="asst1" presStyleIdx="6" presStyleCnt="8"/>
      <dgm:spPr/>
    </dgm:pt>
    <dgm:pt modelId="{9F0B93A3-E8FB-479E-9D10-18FCA7461872}" type="pres">
      <dgm:prSet presAssocID="{E540B51E-821D-499B-8E8A-283C744D1028}"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2FCEE76E-8425-4BE4-8442-8BBB8ACB5944}" srcId="{EC5624F3-2170-43DC-97A6-A153AC2072F1}" destId="{E540B51E-821D-499B-8E8A-283C744D1028}" srcOrd="5" destOrd="0" parTransId="{36F85DE1-4833-4F9B-AB40-91D8789B57FA}" sibTransId="{851F54E2-E7B5-49BF-A19B-9E840E87866B}"/>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4256CE82-B5C7-46FA-BBFB-9FC5A013D25D}" type="presOf" srcId="{E540B51E-821D-499B-8E8A-283C744D1028}" destId="{15D99110-6036-4A11-BDFA-BD4F32352803}" srcOrd="0" destOrd="0" presId="urn:microsoft.com/office/officeart/2005/8/layout/hierarchy6"/>
    <dgm:cxn modelId="{6EC91884-4405-4418-888E-D8C0B9F86975}" type="presOf" srcId="{36F85DE1-4833-4F9B-AB40-91D8789B57FA}" destId="{8DDD6173-394C-4FB2-BC82-61F43C652D15}" srcOrd="0" destOrd="0" presId="urn:microsoft.com/office/officeart/2005/8/layout/hierarchy6"/>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73886E29-DB99-4999-A3A3-9DE8058C4738}" type="presParOf" srcId="{A65EEE17-B142-4395-9440-82681C1ADA87}" destId="{8DDD6173-394C-4FB2-BC82-61F43C652D15}" srcOrd="10" destOrd="0" presId="urn:microsoft.com/office/officeart/2005/8/layout/hierarchy6"/>
    <dgm:cxn modelId="{AFE9EEB3-5BD7-4668-BACB-2B1CFA9F6AD1}" type="presParOf" srcId="{A65EEE17-B142-4395-9440-82681C1ADA87}" destId="{EBB167F8-868F-483A-96A1-09A367CCA3F0}" srcOrd="11" destOrd="0" presId="urn:microsoft.com/office/officeart/2005/8/layout/hierarchy6"/>
    <dgm:cxn modelId="{1AE6757E-02D6-4B19-BF5E-D5045A3CE705}" type="presParOf" srcId="{EBB167F8-868F-483A-96A1-09A367CCA3F0}" destId="{15D99110-6036-4A11-BDFA-BD4F32352803}" srcOrd="0" destOrd="0" presId="urn:microsoft.com/office/officeart/2005/8/layout/hierarchy6"/>
    <dgm:cxn modelId="{F878E806-16C3-4F17-A22A-06F08CAC0471}" type="presParOf" srcId="{EBB167F8-868F-483A-96A1-09A367CCA3F0}" destId="{9F0B93A3-E8FB-479E-9D10-18FCA746187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A3BE995-A6BA-4BAC-A7B3-BBEA4EF22D5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7ACF7DD-146C-4F93-8EB1-1A2A8759EF90}">
      <dgm:prSet custT="1"/>
      <dgm:spPr/>
      <dgm:t>
        <a:bodyPr/>
        <a:lstStyle/>
        <a:p>
          <a:r>
            <a:rPr lang="en-US" sz="2400" baseline="0" dirty="0"/>
            <a:t>Duration is one of the metrics showing potential bottleneck</a:t>
          </a:r>
          <a:endParaRPr lang="en-US" sz="2400" dirty="0"/>
        </a:p>
      </dgm:t>
    </dgm:pt>
    <dgm:pt modelId="{ADDE756C-5304-4436-B103-90FF20E2812B}" type="parTrans" cxnId="{418E0B32-307F-4898-B80A-8A742A9470AA}">
      <dgm:prSet/>
      <dgm:spPr/>
      <dgm:t>
        <a:bodyPr/>
        <a:lstStyle/>
        <a:p>
          <a:endParaRPr lang="en-US"/>
        </a:p>
      </dgm:t>
    </dgm:pt>
    <dgm:pt modelId="{C8AF6611-45C9-44FB-8864-DD1E13EF274A}" type="sibTrans" cxnId="{418E0B32-307F-4898-B80A-8A742A9470AA}">
      <dgm:prSet/>
      <dgm:spPr/>
      <dgm:t>
        <a:bodyPr/>
        <a:lstStyle/>
        <a:p>
          <a:endParaRPr lang="en-US"/>
        </a:p>
      </dgm:t>
    </dgm:pt>
    <dgm:pt modelId="{7C1F74C0-F3EA-43E6-9BEC-E4D41FCAEF1D}">
      <dgm:prSet custT="1"/>
      <dgm:spPr/>
      <dgm:t>
        <a:bodyPr/>
        <a:lstStyle/>
        <a:p>
          <a:r>
            <a:rPr lang="en-US" sz="2400" baseline="0" dirty="0"/>
            <a:t>Long-running queries has potential for:</a:t>
          </a:r>
          <a:endParaRPr lang="en-US" sz="2400" dirty="0"/>
        </a:p>
      </dgm:t>
    </dgm:pt>
    <dgm:pt modelId="{F73F932C-9C50-46EE-A368-DA61B8547BC0}" type="parTrans" cxnId="{2ED1757F-CB14-4CB9-AEE9-1CE1990B2CE6}">
      <dgm:prSet/>
      <dgm:spPr/>
      <dgm:t>
        <a:bodyPr/>
        <a:lstStyle/>
        <a:p>
          <a:endParaRPr lang="en-US"/>
        </a:p>
      </dgm:t>
    </dgm:pt>
    <dgm:pt modelId="{DCB6A5D0-4DC7-49C7-BB7A-3FECACC7CCFD}" type="sibTrans" cxnId="{2ED1757F-CB14-4CB9-AEE9-1CE1990B2CE6}">
      <dgm:prSet/>
      <dgm:spPr/>
      <dgm:t>
        <a:bodyPr/>
        <a:lstStyle/>
        <a:p>
          <a:endParaRPr lang="en-US"/>
        </a:p>
      </dgm:t>
    </dgm:pt>
    <dgm:pt modelId="{10AFDA61-EA15-4ED3-81B3-8C2A7A023E65}">
      <dgm:prSet custT="1"/>
      <dgm:spPr/>
      <dgm:t>
        <a:bodyPr/>
        <a:lstStyle/>
        <a:p>
          <a:r>
            <a:rPr lang="en-US" sz="2000" baseline="0" dirty="0"/>
            <a:t>Longer locks</a:t>
          </a:r>
          <a:endParaRPr lang="en-US" sz="2000" dirty="0"/>
        </a:p>
      </dgm:t>
    </dgm:pt>
    <dgm:pt modelId="{00184EE6-D9C9-4D16-97B5-0A7BB80920BF}" type="parTrans" cxnId="{131211F9-951C-4514-AD56-277280659A55}">
      <dgm:prSet/>
      <dgm:spPr/>
      <dgm:t>
        <a:bodyPr/>
        <a:lstStyle/>
        <a:p>
          <a:endParaRPr lang="en-US"/>
        </a:p>
      </dgm:t>
    </dgm:pt>
    <dgm:pt modelId="{F02DEC82-C0BB-4169-B659-CDF07F66CD58}" type="sibTrans" cxnId="{131211F9-951C-4514-AD56-277280659A55}">
      <dgm:prSet/>
      <dgm:spPr/>
      <dgm:t>
        <a:bodyPr/>
        <a:lstStyle/>
        <a:p>
          <a:endParaRPr lang="en-US"/>
        </a:p>
      </dgm:t>
    </dgm:pt>
    <dgm:pt modelId="{EDCCDA50-8980-4B61-99F1-18C4A4495D9A}">
      <dgm:prSet custT="1"/>
      <dgm:spPr/>
      <dgm:t>
        <a:bodyPr/>
        <a:lstStyle/>
        <a:p>
          <a:r>
            <a:rPr lang="en-US" sz="2000" baseline="0" dirty="0"/>
            <a:t>Blocking other users</a:t>
          </a:r>
          <a:endParaRPr lang="en-US" sz="2000" dirty="0"/>
        </a:p>
      </dgm:t>
    </dgm:pt>
    <dgm:pt modelId="{3AAD31E8-6389-4CA4-8F1F-5EDB23A2D732}" type="parTrans" cxnId="{6875254E-44FB-4AB9-BCC1-4BB25C05A75F}">
      <dgm:prSet/>
      <dgm:spPr/>
      <dgm:t>
        <a:bodyPr/>
        <a:lstStyle/>
        <a:p>
          <a:endParaRPr lang="en-US"/>
        </a:p>
      </dgm:t>
    </dgm:pt>
    <dgm:pt modelId="{8D4ECA71-1A8A-4D6C-AAAA-6711C48FBE92}" type="sibTrans" cxnId="{6875254E-44FB-4AB9-BCC1-4BB25C05A75F}">
      <dgm:prSet/>
      <dgm:spPr/>
      <dgm:t>
        <a:bodyPr/>
        <a:lstStyle/>
        <a:p>
          <a:endParaRPr lang="en-US"/>
        </a:p>
      </dgm:t>
    </dgm:pt>
    <dgm:pt modelId="{2E4FA28F-573C-4C70-AECD-048643DC7D36}">
      <dgm:prSet custT="1"/>
      <dgm:spPr/>
      <dgm:t>
        <a:bodyPr/>
        <a:lstStyle/>
        <a:p>
          <a:r>
            <a:rPr lang="en-US" sz="2000" baseline="0" dirty="0"/>
            <a:t>Limiting scalability</a:t>
          </a:r>
          <a:endParaRPr lang="en-US" sz="2000" dirty="0"/>
        </a:p>
      </dgm:t>
    </dgm:pt>
    <dgm:pt modelId="{DA3ED037-809E-49F8-A427-F5BD39E365F8}" type="parTrans" cxnId="{86D77B81-B7BD-4368-843C-7A4676253298}">
      <dgm:prSet/>
      <dgm:spPr/>
      <dgm:t>
        <a:bodyPr/>
        <a:lstStyle/>
        <a:p>
          <a:endParaRPr lang="en-US"/>
        </a:p>
      </dgm:t>
    </dgm:pt>
    <dgm:pt modelId="{F2815EDD-DA84-41A0-BA2D-AFA3D5EBCB72}" type="sibTrans" cxnId="{86D77B81-B7BD-4368-843C-7A4676253298}">
      <dgm:prSet/>
      <dgm:spPr/>
      <dgm:t>
        <a:bodyPr/>
        <a:lstStyle/>
        <a:p>
          <a:endParaRPr lang="en-US"/>
        </a:p>
      </dgm:t>
    </dgm:pt>
    <dgm:pt modelId="{1BD587A8-9D3E-43B7-9F86-9E9462FE2B81}" type="pres">
      <dgm:prSet presAssocID="{EA3BE995-A6BA-4BAC-A7B3-BBEA4EF22D5C}" presName="linear" presStyleCnt="0">
        <dgm:presLayoutVars>
          <dgm:animLvl val="lvl"/>
          <dgm:resizeHandles val="exact"/>
        </dgm:presLayoutVars>
      </dgm:prSet>
      <dgm:spPr/>
    </dgm:pt>
    <dgm:pt modelId="{99F059FA-74DB-468F-A5C9-0AE5F006D671}" type="pres">
      <dgm:prSet presAssocID="{A7ACF7DD-146C-4F93-8EB1-1A2A8759EF90}" presName="parentText" presStyleLbl="node1" presStyleIdx="0" presStyleCnt="2">
        <dgm:presLayoutVars>
          <dgm:chMax val="0"/>
          <dgm:bulletEnabled val="1"/>
        </dgm:presLayoutVars>
      </dgm:prSet>
      <dgm:spPr/>
    </dgm:pt>
    <dgm:pt modelId="{E953F1F3-FEFE-4898-AB35-26D34DF5AB17}" type="pres">
      <dgm:prSet presAssocID="{C8AF6611-45C9-44FB-8864-DD1E13EF274A}" presName="spacer" presStyleCnt="0"/>
      <dgm:spPr/>
    </dgm:pt>
    <dgm:pt modelId="{5CBB367B-9C40-4F92-8C31-83DFA994EF25}" type="pres">
      <dgm:prSet presAssocID="{7C1F74C0-F3EA-43E6-9BEC-E4D41FCAEF1D}" presName="parentText" presStyleLbl="node1" presStyleIdx="1" presStyleCnt="2">
        <dgm:presLayoutVars>
          <dgm:chMax val="0"/>
          <dgm:bulletEnabled val="1"/>
        </dgm:presLayoutVars>
      </dgm:prSet>
      <dgm:spPr/>
    </dgm:pt>
    <dgm:pt modelId="{9AE7F440-4AD2-4E9D-A0E1-38F266616FB0}" type="pres">
      <dgm:prSet presAssocID="{7C1F74C0-F3EA-43E6-9BEC-E4D41FCAEF1D}" presName="childText" presStyleLbl="revTx" presStyleIdx="0" presStyleCnt="1">
        <dgm:presLayoutVars>
          <dgm:bulletEnabled val="1"/>
        </dgm:presLayoutVars>
      </dgm:prSet>
      <dgm:spPr/>
    </dgm:pt>
  </dgm:ptLst>
  <dgm:cxnLst>
    <dgm:cxn modelId="{0E3D4010-C0FF-4D2A-92C9-AED6F7682A51}" type="presOf" srcId="{10AFDA61-EA15-4ED3-81B3-8C2A7A023E65}" destId="{9AE7F440-4AD2-4E9D-A0E1-38F266616FB0}" srcOrd="0" destOrd="0" presId="urn:microsoft.com/office/officeart/2005/8/layout/vList2"/>
    <dgm:cxn modelId="{500E4F24-D03C-451E-BBF9-7ACBFBAEF91E}" type="presOf" srcId="{7C1F74C0-F3EA-43E6-9BEC-E4D41FCAEF1D}" destId="{5CBB367B-9C40-4F92-8C31-83DFA994EF25}" srcOrd="0" destOrd="0" presId="urn:microsoft.com/office/officeart/2005/8/layout/vList2"/>
    <dgm:cxn modelId="{418E0B32-307F-4898-B80A-8A742A9470AA}" srcId="{EA3BE995-A6BA-4BAC-A7B3-BBEA4EF22D5C}" destId="{A7ACF7DD-146C-4F93-8EB1-1A2A8759EF90}" srcOrd="0" destOrd="0" parTransId="{ADDE756C-5304-4436-B103-90FF20E2812B}" sibTransId="{C8AF6611-45C9-44FB-8864-DD1E13EF274A}"/>
    <dgm:cxn modelId="{4CBA046E-2F6F-4521-8CE7-8404D748B752}" type="presOf" srcId="{A7ACF7DD-146C-4F93-8EB1-1A2A8759EF90}" destId="{99F059FA-74DB-468F-A5C9-0AE5F006D671}" srcOrd="0" destOrd="0" presId="urn:microsoft.com/office/officeart/2005/8/layout/vList2"/>
    <dgm:cxn modelId="{6875254E-44FB-4AB9-BCC1-4BB25C05A75F}" srcId="{7C1F74C0-F3EA-43E6-9BEC-E4D41FCAEF1D}" destId="{EDCCDA50-8980-4B61-99F1-18C4A4495D9A}" srcOrd="1" destOrd="0" parTransId="{3AAD31E8-6389-4CA4-8F1F-5EDB23A2D732}" sibTransId="{8D4ECA71-1A8A-4D6C-AAAA-6711C48FBE92}"/>
    <dgm:cxn modelId="{78458957-5012-4429-A891-686A9DA73A0B}" type="presOf" srcId="{EA3BE995-A6BA-4BAC-A7B3-BBEA4EF22D5C}" destId="{1BD587A8-9D3E-43B7-9F86-9E9462FE2B81}" srcOrd="0" destOrd="0" presId="urn:microsoft.com/office/officeart/2005/8/layout/vList2"/>
    <dgm:cxn modelId="{2ED1757F-CB14-4CB9-AEE9-1CE1990B2CE6}" srcId="{EA3BE995-A6BA-4BAC-A7B3-BBEA4EF22D5C}" destId="{7C1F74C0-F3EA-43E6-9BEC-E4D41FCAEF1D}" srcOrd="1" destOrd="0" parTransId="{F73F932C-9C50-46EE-A368-DA61B8547BC0}" sibTransId="{DCB6A5D0-4DC7-49C7-BB7A-3FECACC7CCFD}"/>
    <dgm:cxn modelId="{86D77B81-B7BD-4368-843C-7A4676253298}" srcId="{7C1F74C0-F3EA-43E6-9BEC-E4D41FCAEF1D}" destId="{2E4FA28F-573C-4C70-AECD-048643DC7D36}" srcOrd="2" destOrd="0" parTransId="{DA3ED037-809E-49F8-A427-F5BD39E365F8}" sibTransId="{F2815EDD-DA84-41A0-BA2D-AFA3D5EBCB72}"/>
    <dgm:cxn modelId="{5887F9E4-D059-4B21-9003-A7AA9F70D7BF}" type="presOf" srcId="{EDCCDA50-8980-4B61-99F1-18C4A4495D9A}" destId="{9AE7F440-4AD2-4E9D-A0E1-38F266616FB0}" srcOrd="0" destOrd="1" presId="urn:microsoft.com/office/officeart/2005/8/layout/vList2"/>
    <dgm:cxn modelId="{A4156FF5-3AEC-4A30-9449-9C172A90E6F3}" type="presOf" srcId="{2E4FA28F-573C-4C70-AECD-048643DC7D36}" destId="{9AE7F440-4AD2-4E9D-A0E1-38F266616FB0}" srcOrd="0" destOrd="2" presId="urn:microsoft.com/office/officeart/2005/8/layout/vList2"/>
    <dgm:cxn modelId="{131211F9-951C-4514-AD56-277280659A55}" srcId="{7C1F74C0-F3EA-43E6-9BEC-E4D41FCAEF1D}" destId="{10AFDA61-EA15-4ED3-81B3-8C2A7A023E65}" srcOrd="0" destOrd="0" parTransId="{00184EE6-D9C9-4D16-97B5-0A7BB80920BF}" sibTransId="{F02DEC82-C0BB-4169-B659-CDF07F66CD58}"/>
    <dgm:cxn modelId="{EC4F72C4-A9AE-4EAD-B2E5-D3168CD5AE44}" type="presParOf" srcId="{1BD587A8-9D3E-43B7-9F86-9E9462FE2B81}" destId="{99F059FA-74DB-468F-A5C9-0AE5F006D671}" srcOrd="0" destOrd="0" presId="urn:microsoft.com/office/officeart/2005/8/layout/vList2"/>
    <dgm:cxn modelId="{C99A510A-3A4A-40FB-B958-981FDAF05ED8}" type="presParOf" srcId="{1BD587A8-9D3E-43B7-9F86-9E9462FE2B81}" destId="{E953F1F3-FEFE-4898-AB35-26D34DF5AB17}" srcOrd="1" destOrd="0" presId="urn:microsoft.com/office/officeart/2005/8/layout/vList2"/>
    <dgm:cxn modelId="{A6D4E5F0-3440-4CC5-A8E2-1F25D13F6D3A}" type="presParOf" srcId="{1BD587A8-9D3E-43B7-9F86-9E9462FE2B81}" destId="{5CBB367B-9C40-4F92-8C31-83DFA994EF25}" srcOrd="2" destOrd="0" presId="urn:microsoft.com/office/officeart/2005/8/layout/vList2"/>
    <dgm:cxn modelId="{D6FB630A-9E50-4D69-AB4E-CC264C731AF1}" type="presParOf" srcId="{1BD587A8-9D3E-43B7-9F86-9E9462FE2B81}" destId="{9AE7F440-4AD2-4E9D-A0E1-38F266616FB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8519862A-4FF3-469C-BBAF-0E69EFA76861}" type="pres">
      <dgm:prSet presAssocID="{89E5375A-E5C4-4BAA-9A0A-D04D5C5FDCE1}" presName="Name14" presStyleCnt="0"/>
      <dgm:spPr/>
    </dgm:pt>
    <dgm:pt modelId="{190817F6-7E7B-4BC8-AAFF-67C88A40C72E}" type="pres">
      <dgm:prSet presAssocID="{89E5375A-E5C4-4BAA-9A0A-D04D5C5FDCE1}" presName="level1Shape" presStyleLbl="node0" presStyleIdx="0" presStyleCnt="1">
        <dgm:presLayoutVars>
          <dgm:chPref val="3"/>
        </dgm:presLayoutVars>
      </dgm:prSet>
      <dgm:spPr/>
    </dgm:pt>
    <dgm:pt modelId="{43AAEBDA-4711-4134-A0AF-AFC92ACBA665}" type="pres">
      <dgm:prSet presAssocID="{89E5375A-E5C4-4BAA-9A0A-D04D5C5FDCE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E611D1D2-E2D2-4CA1-B835-18FCE113CC7B}" srcId="{6E762228-84FE-45B2-9BB6-19E98A9BB7EA}" destId="{89E5375A-E5C4-4BAA-9A0A-D04D5C5FDCE1}" srcOrd="0" destOrd="0" parTransId="{4370DAB5-C489-492C-A122-928E36298688}" sibTransId="{F2835A1B-9DA3-4CFB-8287-85F1ABC7BA78}"/>
    <dgm:cxn modelId="{7F9417EB-714A-4F06-A29E-3277FEE99C64}" type="presOf" srcId="{89E5375A-E5C4-4BAA-9A0A-D04D5C5FDCE1}" destId="{190817F6-7E7B-4BC8-AAFF-67C88A40C72E}"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2907760-DAA5-42AC-BB26-6247543CF603}" type="presParOf" srcId="{6349854C-26F9-4527-A34B-FF8105524D97}" destId="{8519862A-4FF3-469C-BBAF-0E69EFA76861}" srcOrd="0" destOrd="0" presId="urn:microsoft.com/office/officeart/2005/8/layout/hierarchy6"/>
    <dgm:cxn modelId="{6EDEE1E6-65D7-4844-97D7-66892DA9303C}" type="presParOf" srcId="{8519862A-4FF3-469C-BBAF-0E69EFA76861}" destId="{190817F6-7E7B-4BC8-AAFF-67C88A40C72E}" srcOrd="0" destOrd="0" presId="urn:microsoft.com/office/officeart/2005/8/layout/hierarchy6"/>
    <dgm:cxn modelId="{58641C6F-E60F-4F93-B27A-2E158F7A95AF}" type="presParOf" srcId="{8519862A-4FF3-469C-BBAF-0E69EFA76861}" destId="{43AAEBDA-4711-4134-A0AF-AFC92ACBA66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776A8FB8-3D87-4E9B-81C7-237A981A3116}"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D0BBA544-6421-4948-93F1-92A27F675F0E}">
      <dgm:prSet phldrT="[Text]"/>
      <dgm:spPr/>
      <dgm:t>
        <a:bodyPr/>
        <a:lstStyle/>
        <a:p>
          <a:r>
            <a:rPr lang="en-US" dirty="0"/>
            <a:t>It returns the approximate number of unique non-null values in a group.</a:t>
          </a:r>
        </a:p>
      </dgm:t>
    </dgm:pt>
    <dgm:pt modelId="{CD9970E1-8C4B-494F-821F-C136C6256F51}" type="parTrans" cxnId="{9C403666-7265-469D-B41D-82D2319937AF}">
      <dgm:prSet/>
      <dgm:spPr/>
      <dgm:t>
        <a:bodyPr/>
        <a:lstStyle/>
        <a:p>
          <a:endParaRPr lang="en-US"/>
        </a:p>
      </dgm:t>
    </dgm:pt>
    <dgm:pt modelId="{3E071DAB-0F6E-4A08-BA6C-EF1EC0F0B269}" type="sibTrans" cxnId="{9C403666-7265-469D-B41D-82D2319937AF}">
      <dgm:prSet/>
      <dgm:spPr/>
      <dgm:t>
        <a:bodyPr/>
        <a:lstStyle/>
        <a:p>
          <a:endParaRPr lang="en-US"/>
        </a:p>
      </dgm:t>
    </dgm:pt>
    <dgm:pt modelId="{1CEDC6EB-EF9F-4AE5-B31C-403105BDEEBC}">
      <dgm:prSet phldrT="[Text]"/>
      <dgm:spPr/>
      <dgm:t>
        <a:bodyPr/>
        <a:lstStyle/>
        <a:p>
          <a:r>
            <a:rPr lang="en-US" dirty="0"/>
            <a:t>It is designed to provide aggregations across large data sets where responsiveness is more critical than absolute precision.</a:t>
          </a:r>
        </a:p>
      </dgm:t>
    </dgm:pt>
    <dgm:pt modelId="{CF7596AF-33F7-425A-85DC-1A1C3842F632}" type="parTrans" cxnId="{F6930C2B-9065-444F-A38C-3D41C33A340A}">
      <dgm:prSet/>
      <dgm:spPr/>
      <dgm:t>
        <a:bodyPr/>
        <a:lstStyle/>
        <a:p>
          <a:endParaRPr lang="en-US"/>
        </a:p>
      </dgm:t>
    </dgm:pt>
    <dgm:pt modelId="{234F137C-7F0C-4F56-867C-4C8FEC12ACC3}" type="sibTrans" cxnId="{F6930C2B-9065-444F-A38C-3D41C33A340A}">
      <dgm:prSet/>
      <dgm:spPr/>
      <dgm:t>
        <a:bodyPr/>
        <a:lstStyle/>
        <a:p>
          <a:endParaRPr lang="en-US"/>
        </a:p>
      </dgm:t>
    </dgm:pt>
    <dgm:pt modelId="{2F5A593E-A89A-47F2-953B-0C885ABD07E1}">
      <dgm:prSet phldrT="[Text]"/>
      <dgm:spPr/>
      <dgm:t>
        <a:bodyPr/>
        <a:lstStyle/>
        <a:p>
          <a:r>
            <a:rPr lang="en-US" dirty="0"/>
            <a:t>Guarantees up to a 2% error rate within a 97% probability.</a:t>
          </a:r>
        </a:p>
      </dgm:t>
    </dgm:pt>
    <dgm:pt modelId="{EFCA32AB-B66B-4078-99C5-BE6D3D84333E}" type="parTrans" cxnId="{A69E7DAF-511A-4604-BA41-5F2358DA3512}">
      <dgm:prSet/>
      <dgm:spPr/>
      <dgm:t>
        <a:bodyPr/>
        <a:lstStyle/>
        <a:p>
          <a:endParaRPr lang="en-US"/>
        </a:p>
      </dgm:t>
    </dgm:pt>
    <dgm:pt modelId="{C8773E58-6946-4C1E-99C5-34336AB25B97}" type="sibTrans" cxnId="{A69E7DAF-511A-4604-BA41-5F2358DA3512}">
      <dgm:prSet/>
      <dgm:spPr/>
      <dgm:t>
        <a:bodyPr/>
        <a:lstStyle/>
        <a:p>
          <a:endParaRPr lang="en-US"/>
        </a:p>
      </dgm:t>
    </dgm:pt>
    <dgm:pt modelId="{C1FAEC55-B25A-4BAB-BADE-2C656E8DBFA9}">
      <dgm:prSet phldrT="[Text]"/>
      <dgm:spPr/>
      <dgm:t>
        <a:bodyPr/>
        <a:lstStyle/>
        <a:p>
          <a:r>
            <a:rPr lang="en-US" dirty="0"/>
            <a:t>Requires less memory than an exhaustive COUNT DISTINCT operation so it is less likely to spill memory to disk compared to COUNT DISTINCT. </a:t>
          </a:r>
        </a:p>
      </dgm:t>
    </dgm:pt>
    <dgm:pt modelId="{E013B577-D224-43C0-B17B-1E9F293D6085}" type="parTrans" cxnId="{5E7F4E03-DC38-4A01-8759-C717C2B2F362}">
      <dgm:prSet/>
      <dgm:spPr/>
      <dgm:t>
        <a:bodyPr/>
        <a:lstStyle/>
        <a:p>
          <a:endParaRPr lang="en-US"/>
        </a:p>
      </dgm:t>
    </dgm:pt>
    <dgm:pt modelId="{55261351-D477-4394-B1DE-DCFCC1572268}" type="sibTrans" cxnId="{5E7F4E03-DC38-4A01-8759-C717C2B2F362}">
      <dgm:prSet/>
      <dgm:spPr/>
      <dgm:t>
        <a:bodyPr/>
        <a:lstStyle/>
        <a:p>
          <a:endParaRPr lang="en-US"/>
        </a:p>
      </dgm:t>
    </dgm:pt>
    <dgm:pt modelId="{543453AF-7FFC-4ED2-8BCD-419136658FB5}" type="pres">
      <dgm:prSet presAssocID="{776A8FB8-3D87-4E9B-81C7-237A981A3116}" presName="linear" presStyleCnt="0">
        <dgm:presLayoutVars>
          <dgm:animLvl val="lvl"/>
          <dgm:resizeHandles val="exact"/>
        </dgm:presLayoutVars>
      </dgm:prSet>
      <dgm:spPr/>
    </dgm:pt>
    <dgm:pt modelId="{88C4E6B8-E737-4EA3-946D-204FEE6DF5C8}" type="pres">
      <dgm:prSet presAssocID="{D0BBA544-6421-4948-93F1-92A27F675F0E}" presName="parentText" presStyleLbl="node1" presStyleIdx="0" presStyleCnt="4">
        <dgm:presLayoutVars>
          <dgm:chMax val="0"/>
          <dgm:bulletEnabled val="1"/>
        </dgm:presLayoutVars>
      </dgm:prSet>
      <dgm:spPr/>
    </dgm:pt>
    <dgm:pt modelId="{4343D1A7-2181-43AC-8378-ADEEB47136B3}" type="pres">
      <dgm:prSet presAssocID="{3E071DAB-0F6E-4A08-BA6C-EF1EC0F0B269}" presName="spacer" presStyleCnt="0"/>
      <dgm:spPr/>
    </dgm:pt>
    <dgm:pt modelId="{9F038A8D-39BC-47AA-ACC4-A95DB4CF1C1E}" type="pres">
      <dgm:prSet presAssocID="{1CEDC6EB-EF9F-4AE5-B31C-403105BDEEBC}" presName="parentText" presStyleLbl="node1" presStyleIdx="1" presStyleCnt="4">
        <dgm:presLayoutVars>
          <dgm:chMax val="0"/>
          <dgm:bulletEnabled val="1"/>
        </dgm:presLayoutVars>
      </dgm:prSet>
      <dgm:spPr/>
    </dgm:pt>
    <dgm:pt modelId="{79791D99-87FB-43D8-A574-F2E4DFDA7018}" type="pres">
      <dgm:prSet presAssocID="{234F137C-7F0C-4F56-867C-4C8FEC12ACC3}" presName="spacer" presStyleCnt="0"/>
      <dgm:spPr/>
    </dgm:pt>
    <dgm:pt modelId="{C1717981-FC5D-499C-806F-34DF3B17A326}" type="pres">
      <dgm:prSet presAssocID="{2F5A593E-A89A-47F2-953B-0C885ABD07E1}" presName="parentText" presStyleLbl="node1" presStyleIdx="2" presStyleCnt="4">
        <dgm:presLayoutVars>
          <dgm:chMax val="0"/>
          <dgm:bulletEnabled val="1"/>
        </dgm:presLayoutVars>
      </dgm:prSet>
      <dgm:spPr/>
    </dgm:pt>
    <dgm:pt modelId="{84045ACB-ECE7-45CC-9F76-13C5AB9388EB}" type="pres">
      <dgm:prSet presAssocID="{C8773E58-6946-4C1E-99C5-34336AB25B97}" presName="spacer" presStyleCnt="0"/>
      <dgm:spPr/>
    </dgm:pt>
    <dgm:pt modelId="{38B006AA-3546-49BA-9CAC-4056BC1BE1B5}" type="pres">
      <dgm:prSet presAssocID="{C1FAEC55-B25A-4BAB-BADE-2C656E8DBFA9}" presName="parentText" presStyleLbl="node1" presStyleIdx="3" presStyleCnt="4">
        <dgm:presLayoutVars>
          <dgm:chMax val="0"/>
          <dgm:bulletEnabled val="1"/>
        </dgm:presLayoutVars>
      </dgm:prSet>
      <dgm:spPr/>
    </dgm:pt>
  </dgm:ptLst>
  <dgm:cxnLst>
    <dgm:cxn modelId="{5E7F4E03-DC38-4A01-8759-C717C2B2F362}" srcId="{776A8FB8-3D87-4E9B-81C7-237A981A3116}" destId="{C1FAEC55-B25A-4BAB-BADE-2C656E8DBFA9}" srcOrd="3" destOrd="0" parTransId="{E013B577-D224-43C0-B17B-1E9F293D6085}" sibTransId="{55261351-D477-4394-B1DE-DCFCC1572268}"/>
    <dgm:cxn modelId="{ED698F27-F965-469E-A291-920D4636DF77}" type="presOf" srcId="{C1FAEC55-B25A-4BAB-BADE-2C656E8DBFA9}" destId="{38B006AA-3546-49BA-9CAC-4056BC1BE1B5}" srcOrd="0" destOrd="0" presId="urn:microsoft.com/office/officeart/2005/8/layout/vList2"/>
    <dgm:cxn modelId="{F6930C2B-9065-444F-A38C-3D41C33A340A}" srcId="{776A8FB8-3D87-4E9B-81C7-237A981A3116}" destId="{1CEDC6EB-EF9F-4AE5-B31C-403105BDEEBC}" srcOrd="1" destOrd="0" parTransId="{CF7596AF-33F7-425A-85DC-1A1C3842F632}" sibTransId="{234F137C-7F0C-4F56-867C-4C8FEC12ACC3}"/>
    <dgm:cxn modelId="{9C403666-7265-469D-B41D-82D2319937AF}" srcId="{776A8FB8-3D87-4E9B-81C7-237A981A3116}" destId="{D0BBA544-6421-4948-93F1-92A27F675F0E}" srcOrd="0" destOrd="0" parTransId="{CD9970E1-8C4B-494F-821F-C136C6256F51}" sibTransId="{3E071DAB-0F6E-4A08-BA6C-EF1EC0F0B269}"/>
    <dgm:cxn modelId="{8D6BB792-27D5-48FB-8C4A-D9B11B196AFA}" type="presOf" srcId="{1CEDC6EB-EF9F-4AE5-B31C-403105BDEEBC}" destId="{9F038A8D-39BC-47AA-ACC4-A95DB4CF1C1E}" srcOrd="0" destOrd="0" presId="urn:microsoft.com/office/officeart/2005/8/layout/vList2"/>
    <dgm:cxn modelId="{F2CCADAC-8CC6-426D-BC07-F9D8A8361BB2}" type="presOf" srcId="{2F5A593E-A89A-47F2-953B-0C885ABD07E1}" destId="{C1717981-FC5D-499C-806F-34DF3B17A326}" srcOrd="0" destOrd="0" presId="urn:microsoft.com/office/officeart/2005/8/layout/vList2"/>
    <dgm:cxn modelId="{A69E7DAF-511A-4604-BA41-5F2358DA3512}" srcId="{776A8FB8-3D87-4E9B-81C7-237A981A3116}" destId="{2F5A593E-A89A-47F2-953B-0C885ABD07E1}" srcOrd="2" destOrd="0" parTransId="{EFCA32AB-B66B-4078-99C5-BE6D3D84333E}" sibTransId="{C8773E58-6946-4C1E-99C5-34336AB25B97}"/>
    <dgm:cxn modelId="{5D0090D7-E663-4A64-AF7E-D8184564C663}" type="presOf" srcId="{D0BBA544-6421-4948-93F1-92A27F675F0E}" destId="{88C4E6B8-E737-4EA3-946D-204FEE6DF5C8}" srcOrd="0" destOrd="0" presId="urn:microsoft.com/office/officeart/2005/8/layout/vList2"/>
    <dgm:cxn modelId="{3C86E8DE-DF34-4E14-9A03-82302DC006D4}" type="presOf" srcId="{776A8FB8-3D87-4E9B-81C7-237A981A3116}" destId="{543453AF-7FFC-4ED2-8BCD-419136658FB5}" srcOrd="0" destOrd="0" presId="urn:microsoft.com/office/officeart/2005/8/layout/vList2"/>
    <dgm:cxn modelId="{D5099AEF-3BF3-4A5A-9862-FAA33D21418B}" type="presParOf" srcId="{543453AF-7FFC-4ED2-8BCD-419136658FB5}" destId="{88C4E6B8-E737-4EA3-946D-204FEE6DF5C8}" srcOrd="0" destOrd="0" presId="urn:microsoft.com/office/officeart/2005/8/layout/vList2"/>
    <dgm:cxn modelId="{E4C248BA-5ECD-45A3-A675-D24C241DC367}" type="presParOf" srcId="{543453AF-7FFC-4ED2-8BCD-419136658FB5}" destId="{4343D1A7-2181-43AC-8378-ADEEB47136B3}" srcOrd="1" destOrd="0" presId="urn:microsoft.com/office/officeart/2005/8/layout/vList2"/>
    <dgm:cxn modelId="{D5B30B2C-0260-4FA7-92D4-AE4ECDD319FD}" type="presParOf" srcId="{543453AF-7FFC-4ED2-8BCD-419136658FB5}" destId="{9F038A8D-39BC-47AA-ACC4-A95DB4CF1C1E}" srcOrd="2" destOrd="0" presId="urn:microsoft.com/office/officeart/2005/8/layout/vList2"/>
    <dgm:cxn modelId="{C04111D1-F8C7-49D7-9F49-13623EBFA6F1}" type="presParOf" srcId="{543453AF-7FFC-4ED2-8BCD-419136658FB5}" destId="{79791D99-87FB-43D8-A574-F2E4DFDA7018}" srcOrd="3" destOrd="0" presId="urn:microsoft.com/office/officeart/2005/8/layout/vList2"/>
    <dgm:cxn modelId="{ADAC4909-7F94-49C6-82A7-F52BE8115653}" type="presParOf" srcId="{543453AF-7FFC-4ED2-8BCD-419136658FB5}" destId="{C1717981-FC5D-499C-806F-34DF3B17A326}" srcOrd="4" destOrd="0" presId="urn:microsoft.com/office/officeart/2005/8/layout/vList2"/>
    <dgm:cxn modelId="{70EE924E-BC86-45BF-A8CB-BDB9297C6B80}" type="presParOf" srcId="{543453AF-7FFC-4ED2-8BCD-419136658FB5}" destId="{84045ACB-ECE7-45CC-9F76-13C5AB9388EB}" srcOrd="5" destOrd="0" presId="urn:microsoft.com/office/officeart/2005/8/layout/vList2"/>
    <dgm:cxn modelId="{C4352528-6EE4-41FD-B398-4C55577D90ED}" type="presParOf" srcId="{543453AF-7FFC-4ED2-8BCD-419136658FB5}" destId="{38B006AA-3546-49BA-9CAC-4056BC1BE1B5}" srcOrd="6"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chemeClr val="tx2">
            <a:lumMod val="60000"/>
            <a:lumOff val="40000"/>
          </a:schemeClr>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6"/>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6"/>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6"/>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6"/>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6"/>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6"/>
      <dgm:spPr/>
    </dgm:pt>
    <dgm:pt modelId="{FF74A897-7319-4EFC-A661-F079BB4AAB14}" type="pres">
      <dgm:prSet presAssocID="{61FFD111-044A-4BE1-9445-2617C82DC89D}"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chemeClr val="tx2">
            <a:lumMod val="60000"/>
            <a:lumOff val="40000"/>
          </a:schemeClr>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chemeClr val="tx2">
            <a:lumMod val="60000"/>
            <a:lumOff val="40000"/>
          </a:schemeClr>
        </a:solidFill>
      </dgm:spPr>
      <dgm:t>
        <a:bodyPr/>
        <a:lstStyle/>
        <a:p>
          <a:r>
            <a:rPr lang="en-US" dirty="0"/>
            <a:t>Parameter Sensitive Plan Optimization</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955903E0-87A9-4D25-B5B1-CD56E89490AE}" type="asst">
      <dgm:prSet phldrT="[Text]"/>
      <dgm:spPr>
        <a:solidFill>
          <a:schemeClr val="tx2">
            <a:lumMod val="60000"/>
            <a:lumOff val="40000"/>
          </a:schemeClr>
        </a:solidFill>
      </dgm:spPr>
      <dgm:t>
        <a:bodyPr/>
        <a:lstStyle/>
        <a:p>
          <a:r>
            <a:rPr lang="en-US" dirty="0"/>
            <a:t>Optimized Plan Forcing</a:t>
          </a:r>
        </a:p>
      </dgm:t>
    </dgm:pt>
    <dgm:pt modelId="{D37D6034-B6F5-48EF-9814-8BF0CA358979}" type="parTrans" cxnId="{47C6973E-FC8A-4E2F-8998-3A3AA1737BB2}">
      <dgm:prSet/>
      <dgm:spPr/>
      <dgm:t>
        <a:bodyPr/>
        <a:lstStyle/>
        <a:p>
          <a:endParaRPr lang="en-US"/>
        </a:p>
      </dgm:t>
    </dgm:pt>
    <dgm:pt modelId="{C35B32BC-C4E7-473E-BF88-6C6BCE2D504D}" type="sibTrans" cxnId="{47C6973E-FC8A-4E2F-8998-3A3AA1737BB2}">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9E74D5E-EF10-47B0-A9D3-2293E202AE2C}" type="pres">
      <dgm:prSet presAssocID="{D37D6034-B6F5-48EF-9814-8BF0CA358979}" presName="Name19" presStyleLbl="parChTrans1D2" presStyleIdx="4" presStyleCnt="6"/>
      <dgm:spPr/>
    </dgm:pt>
    <dgm:pt modelId="{7E1A1D8C-A378-450A-91F2-1236B8A76AF2}" type="pres">
      <dgm:prSet presAssocID="{955903E0-87A9-4D25-B5B1-CD56E89490AE}" presName="Name21" presStyleCnt="0"/>
      <dgm:spPr/>
    </dgm:pt>
    <dgm:pt modelId="{7F65BB58-1B93-4E6B-B945-953C7DA0DB73}" type="pres">
      <dgm:prSet presAssocID="{955903E0-87A9-4D25-B5B1-CD56E89490AE}" presName="level2Shape" presStyleLbl="asst1" presStyleIdx="6" presStyleCnt="8"/>
      <dgm:spPr/>
    </dgm:pt>
    <dgm:pt modelId="{500C33AF-2AA1-42CC-B3E3-76BAC8055B2E}" type="pres">
      <dgm:prSet presAssocID="{955903E0-87A9-4D25-B5B1-CD56E89490AE}" presName="hierChild3" presStyleCnt="0"/>
      <dgm:spPr/>
    </dgm:pt>
    <dgm:pt modelId="{7AA21635-E323-4213-93F2-9043E3D4FE8B}" type="pres">
      <dgm:prSet presAssocID="{15FCCC77-CAD3-4441-BC89-4813ACAA7CA6}" presName="Name19" presStyleLbl="parChTrans1D2" presStyleIdx="5"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7" presStyleCnt="8" custScaleY="96980"/>
      <dgm:spPr/>
    </dgm:pt>
    <dgm:pt modelId="{8F51EDB5-DB41-4525-BCD1-D281C3D91AEB}" type="pres">
      <dgm:prSet presAssocID="{600C9D66-7A8B-44F0-A9F4-A8BC5F7BC1E5}"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D6CC093C-E0D5-4CC2-A837-EE50A9571DF0}" type="presOf" srcId="{D37D6034-B6F5-48EF-9814-8BF0CA358979}" destId="{79E74D5E-EF10-47B0-A9D3-2293E202AE2C}" srcOrd="0" destOrd="0" presId="urn:microsoft.com/office/officeart/2005/8/layout/hierarchy6"/>
    <dgm:cxn modelId="{47C6973E-FC8A-4E2F-8998-3A3AA1737BB2}" srcId="{EC5624F3-2170-43DC-97A6-A153AC2072F1}" destId="{955903E0-87A9-4D25-B5B1-CD56E89490AE}" srcOrd="4" destOrd="0" parTransId="{D37D6034-B6F5-48EF-9814-8BF0CA358979}" sibTransId="{C35B32BC-C4E7-473E-BF88-6C6BCE2D504D}"/>
    <dgm:cxn modelId="{720BF63F-8354-4C25-962B-83C175427778}" srcId="{EC5624F3-2170-43DC-97A6-A153AC2072F1}" destId="{600C9D66-7A8B-44F0-A9F4-A8BC5F7BC1E5}" srcOrd="5"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F963E876-6722-46E4-960D-D79F2E2F9F95}" type="presOf" srcId="{955903E0-87A9-4D25-B5B1-CD56E89490AE}" destId="{7F65BB58-1B93-4E6B-B945-953C7DA0DB73}"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09E319FA-5E44-4FA7-8055-034F42AC4B9D}" type="presParOf" srcId="{A65EEE17-B142-4395-9440-82681C1ADA87}" destId="{79E74D5E-EF10-47B0-A9D3-2293E202AE2C}" srcOrd="8" destOrd="0" presId="urn:microsoft.com/office/officeart/2005/8/layout/hierarchy6"/>
    <dgm:cxn modelId="{953B12F1-B11E-4DD5-8659-B099348CC827}" type="presParOf" srcId="{A65EEE17-B142-4395-9440-82681C1ADA87}" destId="{7E1A1D8C-A378-450A-91F2-1236B8A76AF2}" srcOrd="9" destOrd="0" presId="urn:microsoft.com/office/officeart/2005/8/layout/hierarchy6"/>
    <dgm:cxn modelId="{D749F81C-CD40-4A47-8BFB-FB7279A8950A}" type="presParOf" srcId="{7E1A1D8C-A378-450A-91F2-1236B8A76AF2}" destId="{7F65BB58-1B93-4E6B-B945-953C7DA0DB73}" srcOrd="0" destOrd="0" presId="urn:microsoft.com/office/officeart/2005/8/layout/hierarchy6"/>
    <dgm:cxn modelId="{5F326508-C434-4805-AD0D-AD7CC76BA37F}" type="presParOf" srcId="{7E1A1D8C-A378-450A-91F2-1236B8A76AF2}" destId="{500C33AF-2AA1-42CC-B3E3-76BAC8055B2E}" srcOrd="1" destOrd="0" presId="urn:microsoft.com/office/officeart/2005/8/layout/hierarchy6"/>
    <dgm:cxn modelId="{A163ACA0-0CEA-4A68-839B-270C05104CB7}" type="presParOf" srcId="{A65EEE17-B142-4395-9440-82681C1ADA87}" destId="{7AA21635-E323-4213-93F2-9043E3D4FE8B}" srcOrd="10" destOrd="0" presId="urn:microsoft.com/office/officeart/2005/8/layout/hierarchy6"/>
    <dgm:cxn modelId="{D1B1BF6C-65F3-48E0-A768-38E994172B19}" type="presParOf" srcId="{A65EEE17-B142-4395-9440-82681C1ADA87}" destId="{9174776B-7F9A-43D3-9235-6C0CFA545E9F}" srcOrd="11"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A3BE995-A6BA-4BAC-A7B3-BBEA4EF22D5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7ACF7DD-146C-4F93-8EB1-1A2A8759EF90}">
      <dgm:prSet custT="1"/>
      <dgm:spPr/>
      <dgm:t>
        <a:bodyPr/>
        <a:lstStyle/>
        <a:p>
          <a:r>
            <a:rPr lang="en-US" sz="2400" baseline="0" dirty="0"/>
            <a:t>Execution count is one of the metrics showing potential bottleneck</a:t>
          </a:r>
          <a:endParaRPr lang="en-US" sz="2400" dirty="0"/>
        </a:p>
      </dgm:t>
    </dgm:pt>
    <dgm:pt modelId="{ADDE756C-5304-4436-B103-90FF20E2812B}" type="parTrans" cxnId="{418E0B32-307F-4898-B80A-8A742A9470AA}">
      <dgm:prSet/>
      <dgm:spPr/>
      <dgm:t>
        <a:bodyPr/>
        <a:lstStyle/>
        <a:p>
          <a:endParaRPr lang="en-US"/>
        </a:p>
      </dgm:t>
    </dgm:pt>
    <dgm:pt modelId="{C8AF6611-45C9-44FB-8864-DD1E13EF274A}" type="sibTrans" cxnId="{418E0B32-307F-4898-B80A-8A742A9470AA}">
      <dgm:prSet/>
      <dgm:spPr/>
      <dgm:t>
        <a:bodyPr/>
        <a:lstStyle/>
        <a:p>
          <a:endParaRPr lang="en-US"/>
        </a:p>
      </dgm:t>
    </dgm:pt>
    <dgm:pt modelId="{7C1F74C0-F3EA-43E6-9BEC-E4D41FCAEF1D}">
      <dgm:prSet custT="1"/>
      <dgm:spPr/>
      <dgm:t>
        <a:bodyPr/>
        <a:lstStyle/>
        <a:p>
          <a:r>
            <a:rPr lang="en-US" sz="2400" baseline="0" dirty="0"/>
            <a:t>High number </a:t>
          </a:r>
          <a:r>
            <a:rPr lang="en-US" sz="2400" baseline="0" dirty="0" err="1"/>
            <a:t>og</a:t>
          </a:r>
          <a:r>
            <a:rPr lang="en-US" sz="2400" baseline="0" dirty="0"/>
            <a:t> executions has potential for:</a:t>
          </a:r>
          <a:endParaRPr lang="en-US" sz="2400" dirty="0"/>
        </a:p>
      </dgm:t>
    </dgm:pt>
    <dgm:pt modelId="{F73F932C-9C50-46EE-A368-DA61B8547BC0}" type="parTrans" cxnId="{2ED1757F-CB14-4CB9-AEE9-1CE1990B2CE6}">
      <dgm:prSet/>
      <dgm:spPr/>
      <dgm:t>
        <a:bodyPr/>
        <a:lstStyle/>
        <a:p>
          <a:endParaRPr lang="en-US"/>
        </a:p>
      </dgm:t>
    </dgm:pt>
    <dgm:pt modelId="{DCB6A5D0-4DC7-49C7-BB7A-3FECACC7CCFD}" type="sibTrans" cxnId="{2ED1757F-CB14-4CB9-AEE9-1CE1990B2CE6}">
      <dgm:prSet/>
      <dgm:spPr/>
      <dgm:t>
        <a:bodyPr/>
        <a:lstStyle/>
        <a:p>
          <a:endParaRPr lang="en-US"/>
        </a:p>
      </dgm:t>
    </dgm:pt>
    <dgm:pt modelId="{10AFDA61-EA15-4ED3-81B3-8C2A7A023E65}">
      <dgm:prSet custT="1"/>
      <dgm:spPr/>
      <dgm:t>
        <a:bodyPr/>
        <a:lstStyle/>
        <a:p>
          <a:r>
            <a:rPr lang="en-US" sz="2000" baseline="0" dirty="0"/>
            <a:t>Database performance</a:t>
          </a:r>
          <a:endParaRPr lang="en-US" sz="2000" dirty="0"/>
        </a:p>
      </dgm:t>
    </dgm:pt>
    <dgm:pt modelId="{00184EE6-D9C9-4D16-97B5-0A7BB80920BF}" type="parTrans" cxnId="{131211F9-951C-4514-AD56-277280659A55}">
      <dgm:prSet/>
      <dgm:spPr/>
      <dgm:t>
        <a:bodyPr/>
        <a:lstStyle/>
        <a:p>
          <a:endParaRPr lang="en-US"/>
        </a:p>
      </dgm:t>
    </dgm:pt>
    <dgm:pt modelId="{F02DEC82-C0BB-4169-B659-CDF07F66CD58}" type="sibTrans" cxnId="{131211F9-951C-4514-AD56-277280659A55}">
      <dgm:prSet/>
      <dgm:spPr/>
      <dgm:t>
        <a:bodyPr/>
        <a:lstStyle/>
        <a:p>
          <a:endParaRPr lang="en-US"/>
        </a:p>
      </dgm:t>
    </dgm:pt>
    <dgm:pt modelId="{6EC44D89-6ADF-40B9-A29D-963B84DBEE72}">
      <dgm:prSet custT="1"/>
      <dgm:spPr/>
      <dgm:t>
        <a:bodyPr/>
        <a:lstStyle/>
        <a:p>
          <a:r>
            <a:rPr lang="en-US" sz="2000" dirty="0"/>
            <a:t>Network latency</a:t>
          </a:r>
        </a:p>
      </dgm:t>
    </dgm:pt>
    <dgm:pt modelId="{76E7E603-F7CB-4848-98BF-325AE9DF5C98}" type="parTrans" cxnId="{9F529BED-4DF4-4F5F-8803-A42D333D3030}">
      <dgm:prSet/>
      <dgm:spPr/>
    </dgm:pt>
    <dgm:pt modelId="{6FFDA0ED-A524-4090-B168-FD04D7D58D1E}" type="sibTrans" cxnId="{9F529BED-4DF4-4F5F-8803-A42D333D3030}">
      <dgm:prSet/>
      <dgm:spPr/>
    </dgm:pt>
    <dgm:pt modelId="{44F99BFD-FE40-4E22-9601-6BDD097961BD}">
      <dgm:prSet custT="1"/>
      <dgm:spPr/>
      <dgm:t>
        <a:bodyPr/>
        <a:lstStyle/>
        <a:p>
          <a:r>
            <a:rPr lang="en-US" sz="2000" dirty="0"/>
            <a:t>Downstream server latency</a:t>
          </a:r>
        </a:p>
      </dgm:t>
    </dgm:pt>
    <dgm:pt modelId="{468B0328-232A-44F9-871B-BF24A6DD110E}" type="parTrans" cxnId="{615CA836-6519-4508-B8B7-349002D6456B}">
      <dgm:prSet/>
      <dgm:spPr/>
    </dgm:pt>
    <dgm:pt modelId="{5E2432A6-CF5E-409F-8A0D-0201F2027C9A}" type="sibTrans" cxnId="{615CA836-6519-4508-B8B7-349002D6456B}">
      <dgm:prSet/>
      <dgm:spPr/>
    </dgm:pt>
    <dgm:pt modelId="{1BD587A8-9D3E-43B7-9F86-9E9462FE2B81}" type="pres">
      <dgm:prSet presAssocID="{EA3BE995-A6BA-4BAC-A7B3-BBEA4EF22D5C}" presName="linear" presStyleCnt="0">
        <dgm:presLayoutVars>
          <dgm:animLvl val="lvl"/>
          <dgm:resizeHandles val="exact"/>
        </dgm:presLayoutVars>
      </dgm:prSet>
      <dgm:spPr/>
    </dgm:pt>
    <dgm:pt modelId="{99F059FA-74DB-468F-A5C9-0AE5F006D671}" type="pres">
      <dgm:prSet presAssocID="{A7ACF7DD-146C-4F93-8EB1-1A2A8759EF90}" presName="parentText" presStyleLbl="node1" presStyleIdx="0" presStyleCnt="2">
        <dgm:presLayoutVars>
          <dgm:chMax val="0"/>
          <dgm:bulletEnabled val="1"/>
        </dgm:presLayoutVars>
      </dgm:prSet>
      <dgm:spPr/>
    </dgm:pt>
    <dgm:pt modelId="{E953F1F3-FEFE-4898-AB35-26D34DF5AB17}" type="pres">
      <dgm:prSet presAssocID="{C8AF6611-45C9-44FB-8864-DD1E13EF274A}" presName="spacer" presStyleCnt="0"/>
      <dgm:spPr/>
    </dgm:pt>
    <dgm:pt modelId="{5CBB367B-9C40-4F92-8C31-83DFA994EF25}" type="pres">
      <dgm:prSet presAssocID="{7C1F74C0-F3EA-43E6-9BEC-E4D41FCAEF1D}" presName="parentText" presStyleLbl="node1" presStyleIdx="1" presStyleCnt="2">
        <dgm:presLayoutVars>
          <dgm:chMax val="0"/>
          <dgm:bulletEnabled val="1"/>
        </dgm:presLayoutVars>
      </dgm:prSet>
      <dgm:spPr/>
    </dgm:pt>
    <dgm:pt modelId="{9AE7F440-4AD2-4E9D-A0E1-38F266616FB0}" type="pres">
      <dgm:prSet presAssocID="{7C1F74C0-F3EA-43E6-9BEC-E4D41FCAEF1D}" presName="childText" presStyleLbl="revTx" presStyleIdx="0" presStyleCnt="1">
        <dgm:presLayoutVars>
          <dgm:bulletEnabled val="1"/>
        </dgm:presLayoutVars>
      </dgm:prSet>
      <dgm:spPr/>
    </dgm:pt>
  </dgm:ptLst>
  <dgm:cxnLst>
    <dgm:cxn modelId="{0E3D4010-C0FF-4D2A-92C9-AED6F7682A51}" type="presOf" srcId="{10AFDA61-EA15-4ED3-81B3-8C2A7A023E65}" destId="{9AE7F440-4AD2-4E9D-A0E1-38F266616FB0}" srcOrd="0" destOrd="0" presId="urn:microsoft.com/office/officeart/2005/8/layout/vList2"/>
    <dgm:cxn modelId="{500E4F24-D03C-451E-BBF9-7ACBFBAEF91E}" type="presOf" srcId="{7C1F74C0-F3EA-43E6-9BEC-E4D41FCAEF1D}" destId="{5CBB367B-9C40-4F92-8C31-83DFA994EF25}" srcOrd="0" destOrd="0" presId="urn:microsoft.com/office/officeart/2005/8/layout/vList2"/>
    <dgm:cxn modelId="{418E0B32-307F-4898-B80A-8A742A9470AA}" srcId="{EA3BE995-A6BA-4BAC-A7B3-BBEA4EF22D5C}" destId="{A7ACF7DD-146C-4F93-8EB1-1A2A8759EF90}" srcOrd="0" destOrd="0" parTransId="{ADDE756C-5304-4436-B103-90FF20E2812B}" sibTransId="{C8AF6611-45C9-44FB-8864-DD1E13EF274A}"/>
    <dgm:cxn modelId="{615CA836-6519-4508-B8B7-349002D6456B}" srcId="{7C1F74C0-F3EA-43E6-9BEC-E4D41FCAEF1D}" destId="{44F99BFD-FE40-4E22-9601-6BDD097961BD}" srcOrd="2" destOrd="0" parTransId="{468B0328-232A-44F9-871B-BF24A6DD110E}" sibTransId="{5E2432A6-CF5E-409F-8A0D-0201F2027C9A}"/>
    <dgm:cxn modelId="{E95FDF6B-351F-43E6-AF17-C2D13D993337}" type="presOf" srcId="{44F99BFD-FE40-4E22-9601-6BDD097961BD}" destId="{9AE7F440-4AD2-4E9D-A0E1-38F266616FB0}" srcOrd="0" destOrd="2" presId="urn:microsoft.com/office/officeart/2005/8/layout/vList2"/>
    <dgm:cxn modelId="{4CBA046E-2F6F-4521-8CE7-8404D748B752}" type="presOf" srcId="{A7ACF7DD-146C-4F93-8EB1-1A2A8759EF90}" destId="{99F059FA-74DB-468F-A5C9-0AE5F006D671}" srcOrd="0" destOrd="0" presId="urn:microsoft.com/office/officeart/2005/8/layout/vList2"/>
    <dgm:cxn modelId="{74CEE876-AD70-4BAD-A9E2-FF69E1F79DF2}" type="presOf" srcId="{6EC44D89-6ADF-40B9-A29D-963B84DBEE72}" destId="{9AE7F440-4AD2-4E9D-A0E1-38F266616FB0}" srcOrd="0" destOrd="1" presId="urn:microsoft.com/office/officeart/2005/8/layout/vList2"/>
    <dgm:cxn modelId="{78458957-5012-4429-A891-686A9DA73A0B}" type="presOf" srcId="{EA3BE995-A6BA-4BAC-A7B3-BBEA4EF22D5C}" destId="{1BD587A8-9D3E-43B7-9F86-9E9462FE2B81}" srcOrd="0" destOrd="0" presId="urn:microsoft.com/office/officeart/2005/8/layout/vList2"/>
    <dgm:cxn modelId="{2ED1757F-CB14-4CB9-AEE9-1CE1990B2CE6}" srcId="{EA3BE995-A6BA-4BAC-A7B3-BBEA4EF22D5C}" destId="{7C1F74C0-F3EA-43E6-9BEC-E4D41FCAEF1D}" srcOrd="1" destOrd="0" parTransId="{F73F932C-9C50-46EE-A368-DA61B8547BC0}" sibTransId="{DCB6A5D0-4DC7-49C7-BB7A-3FECACC7CCFD}"/>
    <dgm:cxn modelId="{9F529BED-4DF4-4F5F-8803-A42D333D3030}" srcId="{7C1F74C0-F3EA-43E6-9BEC-E4D41FCAEF1D}" destId="{6EC44D89-6ADF-40B9-A29D-963B84DBEE72}" srcOrd="1" destOrd="0" parTransId="{76E7E603-F7CB-4848-98BF-325AE9DF5C98}" sibTransId="{6FFDA0ED-A524-4090-B168-FD04D7D58D1E}"/>
    <dgm:cxn modelId="{131211F9-951C-4514-AD56-277280659A55}" srcId="{7C1F74C0-F3EA-43E6-9BEC-E4D41FCAEF1D}" destId="{10AFDA61-EA15-4ED3-81B3-8C2A7A023E65}" srcOrd="0" destOrd="0" parTransId="{00184EE6-D9C9-4D16-97B5-0A7BB80920BF}" sibTransId="{F02DEC82-C0BB-4169-B659-CDF07F66CD58}"/>
    <dgm:cxn modelId="{EC4F72C4-A9AE-4EAD-B2E5-D3168CD5AE44}" type="presParOf" srcId="{1BD587A8-9D3E-43B7-9F86-9E9462FE2B81}" destId="{99F059FA-74DB-468F-A5C9-0AE5F006D671}" srcOrd="0" destOrd="0" presId="urn:microsoft.com/office/officeart/2005/8/layout/vList2"/>
    <dgm:cxn modelId="{C99A510A-3A4A-40FB-B958-981FDAF05ED8}" type="presParOf" srcId="{1BD587A8-9D3E-43B7-9F86-9E9462FE2B81}" destId="{E953F1F3-FEFE-4898-AB35-26D34DF5AB17}" srcOrd="1" destOrd="0" presId="urn:microsoft.com/office/officeart/2005/8/layout/vList2"/>
    <dgm:cxn modelId="{A6D4E5F0-3440-4CC5-A8E2-1F25D13F6D3A}" type="presParOf" srcId="{1BD587A8-9D3E-43B7-9F86-9E9462FE2B81}" destId="{5CBB367B-9C40-4F92-8C31-83DFA994EF25}" srcOrd="2" destOrd="0" presId="urn:microsoft.com/office/officeart/2005/8/layout/vList2"/>
    <dgm:cxn modelId="{D6FB630A-9E50-4D69-AB4E-CC264C731AF1}" type="presParOf" srcId="{1BD587A8-9D3E-43B7-9F86-9E9462FE2B81}" destId="{9AE7F440-4AD2-4E9D-A0E1-38F266616FB0}"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2" qsCatId="simple" csTypeId="urn:microsoft.com/office/officeart/2005/8/colors/accent5_2" csCatId="accent5" phldr="1"/>
      <dgm:spPr/>
      <dgm:t>
        <a:bodyPr/>
        <a:lstStyle/>
        <a:p>
          <a:endParaRPr lang="en-US"/>
        </a:p>
      </dgm:t>
    </dgm:pt>
    <dgm:pt modelId="{FB9E8E93-E505-4F61-B986-63526300BB1E}">
      <dgm:prSet phldrT="[Text]" phldr="0" custT="1"/>
      <dgm:spPr/>
      <dgm:t>
        <a:bodyPr/>
        <a:lstStyle/>
        <a:p>
          <a:r>
            <a:rPr lang="en-US" sz="2400" b="1" dirty="0"/>
            <a:t>Query Compilation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custT="1"/>
      <dgm:spPr/>
      <dgm:t>
        <a:bodyPr/>
        <a:lstStyle/>
        <a:p>
          <a:r>
            <a:rPr lang="en-US" sz="1800" b="0" i="0" dirty="0"/>
            <a:t>Query optimization and compilation is a multi-phased process of quickly generating a “good-enough” query execution plan</a:t>
          </a:r>
          <a:endParaRPr lang="en-US" sz="1800"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DB4715F-AEDF-4BC7-8A41-B993BD4DDBF7}">
      <dgm:prSet custT="1"/>
      <dgm:spPr/>
      <dgm:t>
        <a:bodyPr/>
        <a:lstStyle/>
        <a:p>
          <a:r>
            <a:rPr lang="en-US" sz="1800" b="0" i="0" dirty="0"/>
            <a:t>Query execution time includes compilation. Can be time and resource consuming</a:t>
          </a:r>
          <a:endParaRPr lang="en-US" sz="1800" dirty="0">
            <a:latin typeface="Segoe UI" panose="020B0502040204020203" pitchFamily="34" charset="0"/>
            <a:cs typeface="Segoe UI" panose="020B0502040204020203" pitchFamily="34" charset="0"/>
          </a:endParaRPr>
        </a:p>
      </dgm:t>
    </dgm:pt>
    <dgm:pt modelId="{8F5D64C9-6C05-4502-AE2A-17CEF568A3D8}" type="parTrans" cxnId="{D83E5D7D-199E-4322-8BE4-2A6FF9D1666E}">
      <dgm:prSet/>
      <dgm:spPr/>
      <dgm:t>
        <a:bodyPr/>
        <a:lstStyle/>
        <a:p>
          <a:endParaRPr lang="en-US"/>
        </a:p>
      </dgm:t>
    </dgm:pt>
    <dgm:pt modelId="{0EB9622D-BD6B-4CB6-A155-7A0D45872404}" type="sibTrans" cxnId="{D83E5D7D-199E-4322-8BE4-2A6FF9D1666E}">
      <dgm:prSet/>
      <dgm:spPr/>
      <dgm:t>
        <a:bodyPr/>
        <a:lstStyle/>
        <a:p>
          <a:endParaRPr lang="en-US"/>
        </a:p>
      </dgm:t>
    </dgm:pt>
    <dgm:pt modelId="{A2F83BC0-82EC-4767-9569-A213A2A52554}">
      <dgm:prSet custT="1"/>
      <dgm:spPr/>
      <dgm:t>
        <a:bodyPr/>
        <a:lstStyle/>
        <a:p>
          <a:r>
            <a:rPr lang="en-US" sz="1800" b="0" i="0" dirty="0"/>
            <a:t>To reduce compilation overhead for repeating queries, SQL caches query plans for re-use</a:t>
          </a:r>
          <a:endParaRPr lang="en-US" sz="1800" dirty="0">
            <a:latin typeface="Segoe UI" panose="020B0502040204020203" pitchFamily="34" charset="0"/>
            <a:cs typeface="Segoe UI" panose="020B0502040204020203" pitchFamily="34" charset="0"/>
          </a:endParaRPr>
        </a:p>
      </dgm:t>
    </dgm:pt>
    <dgm:pt modelId="{14D30C5B-CA45-4D08-840A-71D39E7F2C08}" type="parTrans" cxnId="{C0033A3C-BD8B-456C-9DC4-648BF0C98E7C}">
      <dgm:prSet/>
      <dgm:spPr/>
      <dgm:t>
        <a:bodyPr/>
        <a:lstStyle/>
        <a:p>
          <a:endParaRPr lang="en-US"/>
        </a:p>
      </dgm:t>
    </dgm:pt>
    <dgm:pt modelId="{85E6889B-58DC-46E2-AEDB-B7AAF2B7923B}" type="sibTrans" cxnId="{C0033A3C-BD8B-456C-9DC4-648BF0C98E7C}">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1"/>
      <dgm:spPr/>
    </dgm:pt>
    <dgm:pt modelId="{09DF4224-3D80-47D7-B2BA-0A0BBC33BA22}" type="pres">
      <dgm:prSet presAssocID="{FB9E8E93-E505-4F61-B986-63526300BB1E}" presName="parentText" presStyleLbl="node1" presStyleIdx="0" presStyleCnt="1">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1">
        <dgm:presLayoutVars>
          <dgm:bulletEnabled val="1"/>
        </dgm:presLayoutVars>
      </dgm:prSet>
      <dgm:spPr/>
    </dgm:pt>
  </dgm:ptLst>
  <dgm:cxnLst>
    <dgm:cxn modelId="{91054B0F-CFC9-4B13-8ACC-026099ED3D6F}" srcId="{FB9E8E93-E505-4F61-B986-63526300BB1E}" destId="{A654B2B1-C9D2-4EB8-AF32-8F6E55E2795A}" srcOrd="0" destOrd="0" parTransId="{CBA502F4-88E7-406E-95E5-6DC4445E9C2C}" sibTransId="{9C833BE3-3094-478A-8F33-507752BF4F20}"/>
    <dgm:cxn modelId="{C0033A3C-BD8B-456C-9DC4-648BF0C98E7C}" srcId="{FB9E8E93-E505-4F61-B986-63526300BB1E}" destId="{A2F83BC0-82EC-4767-9569-A213A2A52554}" srcOrd="2" destOrd="0" parTransId="{14D30C5B-CA45-4D08-840A-71D39E7F2C08}" sibTransId="{85E6889B-58DC-46E2-AEDB-B7AAF2B7923B}"/>
    <dgm:cxn modelId="{BD13F25F-FC2A-48F6-BC9A-849DC4BBD562}" type="presOf" srcId="{5CAC6E89-8D61-41CE-B485-D446E81BC557}" destId="{B902A285-C333-498D-BE6D-38566E131EA4}" srcOrd="0" destOrd="0" presId="urn:microsoft.com/office/officeart/2005/8/layout/list1"/>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D83E5D7D-199E-4322-8BE4-2A6FF9D1666E}" srcId="{FB9E8E93-E505-4F61-B986-63526300BB1E}" destId="{6DB4715F-AEDF-4BC7-8A41-B993BD4DDBF7}" srcOrd="1" destOrd="0" parTransId="{8F5D64C9-6C05-4502-AE2A-17CEF568A3D8}" sibTransId="{0EB9622D-BD6B-4CB6-A155-7A0D45872404}"/>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5A918A9-E0B8-445E-8C44-1BF46C1ECE88}" type="presOf" srcId="{6DB4715F-AEDF-4BC7-8A41-B993BD4DDBF7}" destId="{F2611699-6C85-4FBF-AB47-DBD3C7959DCE}" srcOrd="0" destOrd="1" presId="urn:microsoft.com/office/officeart/2005/8/layout/list1"/>
    <dgm:cxn modelId="{C86FE3FE-F87C-4A4E-BEB7-3237DC727B8B}" type="presOf" srcId="{A2F83BC0-82EC-4767-9569-A213A2A52554}" destId="{F2611699-6C85-4FBF-AB47-DBD3C7959DCE}" srcOrd="0" destOrd="2" presId="urn:microsoft.com/office/officeart/2005/8/layout/list1"/>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15CEF807-C672-49A4-9040-C0B7F3CF11FA}" type="doc">
      <dgm:prSet loTypeId="urn:microsoft.com/office/officeart/2005/8/layout/cycle5" loCatId="cycle" qsTypeId="urn:microsoft.com/office/officeart/2005/8/quickstyle/simple1" qsCatId="simple" csTypeId="urn:microsoft.com/office/officeart/2005/8/colors/accent5_2" csCatId="accent5" phldr="1"/>
      <dgm:spPr/>
      <dgm:t>
        <a:bodyPr/>
        <a:lstStyle/>
        <a:p>
          <a:endParaRPr lang="en-US"/>
        </a:p>
      </dgm:t>
    </dgm:pt>
    <dgm:pt modelId="{44794CBA-7470-4636-8657-3DC5127AA265}">
      <dgm:prSet custT="1"/>
      <dgm:spPr/>
      <dgm:t>
        <a:bodyPr/>
        <a:lstStyle/>
        <a:p>
          <a:r>
            <a:rPr lang="en-US" sz="1600" b="0" i="0" dirty="0"/>
            <a:t>Plans can be evicted from cache due to restarts or memory pressure</a:t>
          </a:r>
          <a:endParaRPr lang="en-US" sz="1600" dirty="0">
            <a:latin typeface="Segoe UI" panose="020B0502040204020203" pitchFamily="34" charset="0"/>
            <a:cs typeface="Segoe UI" panose="020B0502040204020203" pitchFamily="34" charset="0"/>
          </a:endParaRPr>
        </a:p>
      </dgm:t>
    </dgm:pt>
    <dgm:pt modelId="{CF3EC315-4936-4393-BA22-6B03A9F77272}" type="parTrans" cxnId="{1DCC9E70-6ABE-41B8-86E6-6A37BA072190}">
      <dgm:prSet/>
      <dgm:spPr/>
      <dgm:t>
        <a:bodyPr/>
        <a:lstStyle/>
        <a:p>
          <a:endParaRPr lang="en-US" sz="4800"/>
        </a:p>
      </dgm:t>
    </dgm:pt>
    <dgm:pt modelId="{BE2A594E-14D2-44B3-A29B-1A6E3AE35DA6}" type="sibTrans" cxnId="{1DCC9E70-6ABE-41B8-86E6-6A37BA072190}">
      <dgm:prSet/>
      <dgm:spPr/>
      <dgm:t>
        <a:bodyPr/>
        <a:lstStyle/>
        <a:p>
          <a:endParaRPr lang="en-US" sz="4800"/>
        </a:p>
      </dgm:t>
    </dgm:pt>
    <dgm:pt modelId="{DEDCFA53-DC48-44A7-977D-E12D394D0E0C}">
      <dgm:prSet custT="1"/>
      <dgm:spPr/>
      <dgm:t>
        <a:bodyPr/>
        <a:lstStyle/>
        <a:p>
          <a:r>
            <a:rPr lang="en-US" sz="1600" b="0" i="0" dirty="0"/>
            <a:t>Subsequent calls to the query require a full new compilation</a:t>
          </a:r>
          <a:endParaRPr lang="en-US" sz="1600" dirty="0">
            <a:latin typeface="Segoe UI" panose="020B0502040204020203" pitchFamily="34" charset="0"/>
            <a:cs typeface="Segoe UI" panose="020B0502040204020203" pitchFamily="34" charset="0"/>
          </a:endParaRPr>
        </a:p>
      </dgm:t>
    </dgm:pt>
    <dgm:pt modelId="{59D58C73-5F4D-483A-BA86-830148D877F5}" type="parTrans" cxnId="{EF6E2167-74BB-4D9B-B436-1DE484672804}">
      <dgm:prSet/>
      <dgm:spPr/>
      <dgm:t>
        <a:bodyPr/>
        <a:lstStyle/>
        <a:p>
          <a:endParaRPr lang="en-US" sz="4800"/>
        </a:p>
      </dgm:t>
    </dgm:pt>
    <dgm:pt modelId="{F09834A2-C6EC-4E8D-9A4B-149AB50ACF5B}" type="sibTrans" cxnId="{EF6E2167-74BB-4D9B-B436-1DE484672804}">
      <dgm:prSet/>
      <dgm:spPr/>
      <dgm:t>
        <a:bodyPr/>
        <a:lstStyle/>
        <a:p>
          <a:endParaRPr lang="en-US" sz="4800"/>
        </a:p>
      </dgm:t>
    </dgm:pt>
    <dgm:pt modelId="{3510DF51-6FC0-4520-8F6E-7FE3412F4BFF}" type="pres">
      <dgm:prSet presAssocID="{15CEF807-C672-49A4-9040-C0B7F3CF11FA}" presName="cycle" presStyleCnt="0">
        <dgm:presLayoutVars>
          <dgm:dir/>
          <dgm:resizeHandles val="exact"/>
        </dgm:presLayoutVars>
      </dgm:prSet>
      <dgm:spPr/>
    </dgm:pt>
    <dgm:pt modelId="{147240B6-7431-4D5B-9770-7BBD09BEEFA0}" type="pres">
      <dgm:prSet presAssocID="{44794CBA-7470-4636-8657-3DC5127AA265}" presName="node" presStyleLbl="node1" presStyleIdx="0" presStyleCnt="2">
        <dgm:presLayoutVars>
          <dgm:bulletEnabled val="1"/>
        </dgm:presLayoutVars>
      </dgm:prSet>
      <dgm:spPr/>
    </dgm:pt>
    <dgm:pt modelId="{7D35D786-E4D1-4DC4-A810-4C5B053C922F}" type="pres">
      <dgm:prSet presAssocID="{44794CBA-7470-4636-8657-3DC5127AA265}" presName="spNode" presStyleCnt="0"/>
      <dgm:spPr/>
    </dgm:pt>
    <dgm:pt modelId="{F199BF73-C33E-4EB4-A900-D6729BE99A24}" type="pres">
      <dgm:prSet presAssocID="{BE2A594E-14D2-44B3-A29B-1A6E3AE35DA6}" presName="sibTrans" presStyleLbl="sibTrans1D1" presStyleIdx="0" presStyleCnt="2"/>
      <dgm:spPr/>
    </dgm:pt>
    <dgm:pt modelId="{286F8BD2-898A-4C98-8968-C54AFB0ACCD0}" type="pres">
      <dgm:prSet presAssocID="{DEDCFA53-DC48-44A7-977D-E12D394D0E0C}" presName="node" presStyleLbl="node1" presStyleIdx="1" presStyleCnt="2">
        <dgm:presLayoutVars>
          <dgm:bulletEnabled val="1"/>
        </dgm:presLayoutVars>
      </dgm:prSet>
      <dgm:spPr/>
    </dgm:pt>
    <dgm:pt modelId="{22E1C832-A953-4948-BBB3-883D6183B375}" type="pres">
      <dgm:prSet presAssocID="{DEDCFA53-DC48-44A7-977D-E12D394D0E0C}" presName="spNode" presStyleCnt="0"/>
      <dgm:spPr/>
    </dgm:pt>
    <dgm:pt modelId="{0F332F37-F7B9-4F1F-85F7-35ACAAD08A55}" type="pres">
      <dgm:prSet presAssocID="{F09834A2-C6EC-4E8D-9A4B-149AB50ACF5B}" presName="sibTrans" presStyleLbl="sibTrans1D1" presStyleIdx="1" presStyleCnt="2"/>
      <dgm:spPr/>
    </dgm:pt>
  </dgm:ptLst>
  <dgm:cxnLst>
    <dgm:cxn modelId="{10F6435C-E5B2-4B2B-B630-341740BFCA9B}" type="presOf" srcId="{DEDCFA53-DC48-44A7-977D-E12D394D0E0C}" destId="{286F8BD2-898A-4C98-8968-C54AFB0ACCD0}" srcOrd="0" destOrd="0" presId="urn:microsoft.com/office/officeart/2005/8/layout/cycle5"/>
    <dgm:cxn modelId="{EF6E2167-74BB-4D9B-B436-1DE484672804}" srcId="{15CEF807-C672-49A4-9040-C0B7F3CF11FA}" destId="{DEDCFA53-DC48-44A7-977D-E12D394D0E0C}" srcOrd="1" destOrd="0" parTransId="{59D58C73-5F4D-483A-BA86-830148D877F5}" sibTransId="{F09834A2-C6EC-4E8D-9A4B-149AB50ACF5B}"/>
    <dgm:cxn modelId="{9DD2AB6A-096A-416D-ADA5-D3060F539E3B}" type="presOf" srcId="{F09834A2-C6EC-4E8D-9A4B-149AB50ACF5B}" destId="{0F332F37-F7B9-4F1F-85F7-35ACAAD08A55}" srcOrd="0" destOrd="0" presId="urn:microsoft.com/office/officeart/2005/8/layout/cycle5"/>
    <dgm:cxn modelId="{1DCC9E70-6ABE-41B8-86E6-6A37BA072190}" srcId="{15CEF807-C672-49A4-9040-C0B7F3CF11FA}" destId="{44794CBA-7470-4636-8657-3DC5127AA265}" srcOrd="0" destOrd="0" parTransId="{CF3EC315-4936-4393-BA22-6B03A9F77272}" sibTransId="{BE2A594E-14D2-44B3-A29B-1A6E3AE35DA6}"/>
    <dgm:cxn modelId="{1D9A9978-6839-41CF-BE2E-BFC32E670303}" type="presOf" srcId="{BE2A594E-14D2-44B3-A29B-1A6E3AE35DA6}" destId="{F199BF73-C33E-4EB4-A900-D6729BE99A24}" srcOrd="0" destOrd="0" presId="urn:microsoft.com/office/officeart/2005/8/layout/cycle5"/>
    <dgm:cxn modelId="{3EE37BE6-1FE4-4401-8600-6C0B1995FD11}" type="presOf" srcId="{15CEF807-C672-49A4-9040-C0B7F3CF11FA}" destId="{3510DF51-6FC0-4520-8F6E-7FE3412F4BFF}" srcOrd="0" destOrd="0" presId="urn:microsoft.com/office/officeart/2005/8/layout/cycle5"/>
    <dgm:cxn modelId="{900682FC-3D0A-4ADE-813E-AB209C8367E8}" type="presOf" srcId="{44794CBA-7470-4636-8657-3DC5127AA265}" destId="{147240B6-7431-4D5B-9770-7BBD09BEEFA0}" srcOrd="0" destOrd="0" presId="urn:microsoft.com/office/officeart/2005/8/layout/cycle5"/>
    <dgm:cxn modelId="{19F5C6C5-6DFF-431A-8C5D-DEA5A658B17C}" type="presParOf" srcId="{3510DF51-6FC0-4520-8F6E-7FE3412F4BFF}" destId="{147240B6-7431-4D5B-9770-7BBD09BEEFA0}" srcOrd="0" destOrd="0" presId="urn:microsoft.com/office/officeart/2005/8/layout/cycle5"/>
    <dgm:cxn modelId="{1F0EBA92-6656-4816-BB95-C1DC79591A3A}" type="presParOf" srcId="{3510DF51-6FC0-4520-8F6E-7FE3412F4BFF}" destId="{7D35D786-E4D1-4DC4-A810-4C5B053C922F}" srcOrd="1" destOrd="0" presId="urn:microsoft.com/office/officeart/2005/8/layout/cycle5"/>
    <dgm:cxn modelId="{DC34B044-3389-47EB-9994-114644CE66D5}" type="presParOf" srcId="{3510DF51-6FC0-4520-8F6E-7FE3412F4BFF}" destId="{F199BF73-C33E-4EB4-A900-D6729BE99A24}" srcOrd="2" destOrd="0" presId="urn:microsoft.com/office/officeart/2005/8/layout/cycle5"/>
    <dgm:cxn modelId="{5F4ABC18-2728-4E5B-8BCC-A1131718098E}" type="presParOf" srcId="{3510DF51-6FC0-4520-8F6E-7FE3412F4BFF}" destId="{286F8BD2-898A-4C98-8968-C54AFB0ACCD0}" srcOrd="3" destOrd="0" presId="urn:microsoft.com/office/officeart/2005/8/layout/cycle5"/>
    <dgm:cxn modelId="{5216B912-F197-498C-B5C4-6B337D1FE3D1}" type="presParOf" srcId="{3510DF51-6FC0-4520-8F6E-7FE3412F4BFF}" destId="{22E1C832-A953-4948-BBB3-883D6183B375}" srcOrd="4" destOrd="0" presId="urn:microsoft.com/office/officeart/2005/8/layout/cycle5"/>
    <dgm:cxn modelId="{D9362DEC-58C0-4A33-B79B-36AC7327FE16}" type="presParOf" srcId="{3510DF51-6FC0-4520-8F6E-7FE3412F4BFF}" destId="{0F332F37-F7B9-4F1F-85F7-35ACAAD08A55}" srcOrd="5" destOrd="0" presId="urn:microsoft.com/office/officeart/2005/8/layout/cycle5"/>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2" qsCatId="simple" csTypeId="urn:microsoft.com/office/officeart/2005/8/colors/accent5_2" csCatId="accent5" phldr="1"/>
      <dgm:spPr/>
      <dgm:t>
        <a:bodyPr/>
        <a:lstStyle/>
        <a:p>
          <a:endParaRPr lang="en-US"/>
        </a:p>
      </dgm:t>
    </dgm:pt>
    <dgm:pt modelId="{FB9E8E93-E505-4F61-B986-63526300BB1E}">
      <dgm:prSet phldrT="[Text]" phldr="0" custT="1"/>
      <dgm:spPr/>
      <dgm:t>
        <a:bodyPr/>
        <a:lstStyle/>
        <a:p>
          <a:r>
            <a:rPr lang="en-US" sz="2400" b="0" i="0" dirty="0"/>
            <a:t>Query Compilation Replay</a:t>
          </a:r>
          <a:endParaRPr lang="en-US" sz="2400"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2BD30B-CE38-4DD5-BA97-D9FB463CAE50}">
      <dgm:prSet custT="1"/>
      <dgm:spPr/>
      <dgm:t>
        <a:bodyPr/>
        <a:lstStyle/>
        <a:p>
          <a:r>
            <a:rPr lang="en-US" sz="2400" dirty="0">
              <a:latin typeface="+mn-lt"/>
              <a:cs typeface="Segoe UI" panose="020B0502040204020203" pitchFamily="34" charset="0"/>
            </a:rPr>
            <a:t>Version 1 targets previously forced plans through Query Store and Automatic Plan Correction</a:t>
          </a:r>
        </a:p>
      </dgm:t>
    </dgm:pt>
    <dgm:pt modelId="{5CD466C9-02F3-4368-B583-F7502EB4EAD5}" type="parTrans" cxnId="{21ED04DE-2D15-4E65-99A8-209386E0590B}">
      <dgm:prSet/>
      <dgm:spPr/>
      <dgm:t>
        <a:bodyPr/>
        <a:lstStyle/>
        <a:p>
          <a:endParaRPr lang="en-US"/>
        </a:p>
      </dgm:t>
    </dgm:pt>
    <dgm:pt modelId="{63C8D2D5-78EB-49FE-95A8-9892F14CC72B}" type="sibTrans" cxnId="{21ED04DE-2D15-4E65-99A8-209386E0590B}">
      <dgm:prSet/>
      <dgm:spPr/>
      <dgm:t>
        <a:bodyPr/>
        <a:lstStyle/>
        <a:p>
          <a:endParaRPr lang="en-US"/>
        </a:p>
      </dgm:t>
    </dgm:pt>
    <dgm:pt modelId="{2657701A-F368-4CB4-84F6-0A412F0FE3E3}">
      <dgm:prSet custT="1"/>
      <dgm:spPr/>
      <dgm:t>
        <a:bodyPr/>
        <a:lstStyle/>
        <a:p>
          <a:r>
            <a:rPr lang="en-US" sz="2400" b="0" i="0" dirty="0">
              <a:latin typeface="+mn-lt"/>
            </a:rPr>
            <a:t>Uses those previously-recorded CRS to quickly reproduce and cache the original forced plan </a:t>
          </a:r>
          <a:r>
            <a:rPr lang="en-US" sz="2400" b="1" i="0" dirty="0">
              <a:latin typeface="+mn-lt"/>
            </a:rPr>
            <a:t>at a fraction of the original compilation cost</a:t>
          </a:r>
          <a:endParaRPr lang="en-US" sz="2400" dirty="0">
            <a:latin typeface="+mn-lt"/>
            <a:cs typeface="Segoe UI" panose="020B0502040204020203" pitchFamily="34" charset="0"/>
          </a:endParaRPr>
        </a:p>
      </dgm:t>
    </dgm:pt>
    <dgm:pt modelId="{C529AB4E-80E5-41F9-B664-0CBBE969FB10}" type="parTrans" cxnId="{9D02D6E2-F72B-4D62-AA14-7839F661CA48}">
      <dgm:prSet/>
      <dgm:spPr/>
      <dgm:t>
        <a:bodyPr/>
        <a:lstStyle/>
        <a:p>
          <a:endParaRPr lang="en-US"/>
        </a:p>
      </dgm:t>
    </dgm:pt>
    <dgm:pt modelId="{6B96CFE7-0A64-4AEA-A9A1-F2F1DAA7ADC7}" type="sibTrans" cxnId="{9D02D6E2-F72B-4D62-AA14-7839F661CA48}">
      <dgm:prSet/>
      <dgm:spPr/>
      <dgm:t>
        <a:bodyPr/>
        <a:lstStyle/>
        <a:p>
          <a:endParaRPr lang="en-US"/>
        </a:p>
      </dgm:t>
    </dgm:pt>
    <dgm:pt modelId="{ACE6C81C-234F-49AA-B3E2-AC75F6560ACF}">
      <dgm:prSet custT="1"/>
      <dgm:spPr/>
      <dgm:t>
        <a:bodyPr/>
        <a:lstStyle/>
        <a:p>
          <a:r>
            <a:rPr lang="en-US" sz="2400" dirty="0">
              <a:latin typeface="+mn-lt"/>
              <a:cs typeface="Segoe UI" panose="020B0502040204020203" pitchFamily="34" charset="0"/>
            </a:rPr>
            <a:t>Compatible with Query Store hints and secondary replica support</a:t>
          </a:r>
        </a:p>
      </dgm:t>
    </dgm:pt>
    <dgm:pt modelId="{71E440FC-E339-4915-9DFB-4A02089B3966}" type="parTrans" cxnId="{96607763-6C94-4B3E-8B37-ED11233BFEC7}">
      <dgm:prSet/>
      <dgm:spPr/>
      <dgm:t>
        <a:bodyPr/>
        <a:lstStyle/>
        <a:p>
          <a:endParaRPr lang="en-US"/>
        </a:p>
      </dgm:t>
    </dgm:pt>
    <dgm:pt modelId="{5AC5B8C6-948B-4C0F-A75E-21B824B4598F}" type="sibTrans" cxnId="{96607763-6C94-4B3E-8B37-ED11233BFEC7}">
      <dgm:prSet/>
      <dgm:spPr/>
      <dgm:t>
        <a:bodyPr/>
        <a:lstStyle/>
        <a:p>
          <a:endParaRPr lang="en-US"/>
        </a:p>
      </dgm:t>
    </dgm:pt>
    <dgm:pt modelId="{4430DAFE-8FCC-4C60-AD68-AE79325175E0}">
      <dgm:prSet phldrT="[Text]" phldr="0" custT="1"/>
      <dgm:spPr/>
      <dgm:t>
        <a:bodyPr/>
        <a:lstStyle/>
        <a:p>
          <a:r>
            <a:rPr lang="en-US" sz="2400" b="0" i="0" dirty="0">
              <a:latin typeface="+mn-lt"/>
            </a:rPr>
            <a:t>Stores a </a:t>
          </a:r>
          <a:r>
            <a:rPr lang="en-US" sz="2400" b="0" i="1" dirty="0">
              <a:latin typeface="+mn-lt"/>
            </a:rPr>
            <a:t>compilation replay script </a:t>
          </a:r>
          <a:r>
            <a:rPr lang="en-US" sz="2400" b="0" i="0" dirty="0">
              <a:latin typeface="+mn-lt"/>
            </a:rPr>
            <a:t>(CRS) that persists key compilation steps in Query Store (not user visible)</a:t>
          </a:r>
          <a:endParaRPr lang="en-US" sz="2400" b="1" dirty="0">
            <a:latin typeface="+mn-lt"/>
          </a:endParaRPr>
        </a:p>
      </dgm:t>
    </dgm:pt>
    <dgm:pt modelId="{A8D99809-FC3F-4C9A-94AB-0ADE76DBDAF9}" type="parTrans" cxnId="{F2522B53-4B7A-4C10-9117-8717487DAE73}">
      <dgm:prSet/>
      <dgm:spPr/>
      <dgm:t>
        <a:bodyPr/>
        <a:lstStyle/>
        <a:p>
          <a:endParaRPr lang="en-US"/>
        </a:p>
      </dgm:t>
    </dgm:pt>
    <dgm:pt modelId="{6C71C08A-B557-45ED-B98E-4BEC67F0DF89}" type="sibTrans" cxnId="{F2522B53-4B7A-4C10-9117-8717487DAE73}">
      <dgm:prSet/>
      <dgm:spPr/>
      <dgm:t>
        <a:bodyPr/>
        <a:lstStyle/>
        <a:p>
          <a:endParaRPr lang="en-US"/>
        </a:p>
      </dgm:t>
    </dgm:pt>
    <dgm:pt modelId="{41E13F47-50B0-4C65-9F4A-F4669980A3D3}" type="pres">
      <dgm:prSet presAssocID="{5CAC6E89-8D61-41CE-B485-D446E81BC557}" presName="linear" presStyleCnt="0">
        <dgm:presLayoutVars>
          <dgm:animLvl val="lvl"/>
          <dgm:resizeHandles val="exact"/>
        </dgm:presLayoutVars>
      </dgm:prSet>
      <dgm:spPr/>
    </dgm:pt>
    <dgm:pt modelId="{BC627420-5C6C-4D72-AEC0-56A4B040BD2E}" type="pres">
      <dgm:prSet presAssocID="{FB9E8E93-E505-4F61-B986-63526300BB1E}" presName="parentText" presStyleLbl="node1" presStyleIdx="0" presStyleCnt="1" custLinFactNeighborY="-28370">
        <dgm:presLayoutVars>
          <dgm:chMax val="0"/>
          <dgm:bulletEnabled val="1"/>
        </dgm:presLayoutVars>
      </dgm:prSet>
      <dgm:spPr/>
    </dgm:pt>
    <dgm:pt modelId="{AE3B6265-E121-46EA-BA53-EF8CA4BD0DB2}" type="pres">
      <dgm:prSet presAssocID="{FB9E8E93-E505-4F61-B986-63526300BB1E}" presName="childText" presStyleLbl="revTx" presStyleIdx="0" presStyleCnt="1" custLinFactNeighborY="-37621">
        <dgm:presLayoutVars>
          <dgm:bulletEnabled val="1"/>
        </dgm:presLayoutVars>
      </dgm:prSet>
      <dgm:spPr/>
    </dgm:pt>
  </dgm:ptLst>
  <dgm:cxnLst>
    <dgm:cxn modelId="{FBB0FD00-6AFD-4707-BA3F-A79158FA01F4}" type="presOf" srcId="{4430DAFE-8FCC-4C60-AD68-AE79325175E0}" destId="{AE3B6265-E121-46EA-BA53-EF8CA4BD0DB2}" srcOrd="0" destOrd="0" presId="urn:microsoft.com/office/officeart/2005/8/layout/vList2"/>
    <dgm:cxn modelId="{3DBBD937-C353-43AE-91B6-66F4D1AACBE2}" type="presOf" srcId="{2657701A-F368-4CB4-84F6-0A412F0FE3E3}" destId="{AE3B6265-E121-46EA-BA53-EF8CA4BD0DB2}" srcOrd="0" destOrd="2" presId="urn:microsoft.com/office/officeart/2005/8/layout/vList2"/>
    <dgm:cxn modelId="{96607763-6C94-4B3E-8B37-ED11233BFEC7}" srcId="{FB9E8E93-E505-4F61-B986-63526300BB1E}" destId="{ACE6C81C-234F-49AA-B3E2-AC75F6560ACF}" srcOrd="3" destOrd="0" parTransId="{71E440FC-E339-4915-9DFB-4A02089B3966}" sibTransId="{5AC5B8C6-948B-4C0F-A75E-21B824B4598F}"/>
    <dgm:cxn modelId="{50B68244-667E-4A60-9DBF-40708B2B7104}" srcId="{5CAC6E89-8D61-41CE-B485-D446E81BC557}" destId="{FB9E8E93-E505-4F61-B986-63526300BB1E}" srcOrd="0" destOrd="0" parTransId="{0A28C454-11D4-48BA-B856-5DF1A51C6CA8}" sibTransId="{D0DB3B49-9806-45F0-815F-F683F3A245D5}"/>
    <dgm:cxn modelId="{CA8E6046-1A0D-40AD-98CD-CF4AB8AFFAFE}" type="presOf" srcId="{642BD30B-CE38-4DD5-BA97-D9FB463CAE50}" destId="{AE3B6265-E121-46EA-BA53-EF8CA4BD0DB2}" srcOrd="0" destOrd="1" presId="urn:microsoft.com/office/officeart/2005/8/layout/vList2"/>
    <dgm:cxn modelId="{F6BD1953-A79C-422E-BEFF-FD7DE641614F}" type="presOf" srcId="{5CAC6E89-8D61-41CE-B485-D446E81BC557}" destId="{41E13F47-50B0-4C65-9F4A-F4669980A3D3}" srcOrd="0" destOrd="0" presId="urn:microsoft.com/office/officeart/2005/8/layout/vList2"/>
    <dgm:cxn modelId="{F2522B53-4B7A-4C10-9117-8717487DAE73}" srcId="{FB9E8E93-E505-4F61-B986-63526300BB1E}" destId="{4430DAFE-8FCC-4C60-AD68-AE79325175E0}" srcOrd="0" destOrd="0" parTransId="{A8D99809-FC3F-4C9A-94AB-0ADE76DBDAF9}" sibTransId="{6C71C08A-B557-45ED-B98E-4BEC67F0DF89}"/>
    <dgm:cxn modelId="{EE5B4DC1-FB41-4129-A702-0D9750900077}" type="presOf" srcId="{ACE6C81C-234F-49AA-B3E2-AC75F6560ACF}" destId="{AE3B6265-E121-46EA-BA53-EF8CA4BD0DB2}" srcOrd="0" destOrd="3" presId="urn:microsoft.com/office/officeart/2005/8/layout/vList2"/>
    <dgm:cxn modelId="{21ED04DE-2D15-4E65-99A8-209386E0590B}" srcId="{FB9E8E93-E505-4F61-B986-63526300BB1E}" destId="{642BD30B-CE38-4DD5-BA97-D9FB463CAE50}" srcOrd="1" destOrd="0" parTransId="{5CD466C9-02F3-4368-B583-F7502EB4EAD5}" sibTransId="{63C8D2D5-78EB-49FE-95A8-9892F14CC72B}"/>
    <dgm:cxn modelId="{9D02D6E2-F72B-4D62-AA14-7839F661CA48}" srcId="{FB9E8E93-E505-4F61-B986-63526300BB1E}" destId="{2657701A-F368-4CB4-84F6-0A412F0FE3E3}" srcOrd="2" destOrd="0" parTransId="{C529AB4E-80E5-41F9-B664-0CBBE969FB10}" sibTransId="{6B96CFE7-0A64-4AEA-A9A1-F2F1DAA7ADC7}"/>
    <dgm:cxn modelId="{A93E15F7-D02E-4DB6-9D10-403592A79968}" type="presOf" srcId="{FB9E8E93-E505-4F61-B986-63526300BB1E}" destId="{BC627420-5C6C-4D72-AEC0-56A4B040BD2E}" srcOrd="0" destOrd="0" presId="urn:microsoft.com/office/officeart/2005/8/layout/vList2"/>
    <dgm:cxn modelId="{57E9F589-0EEC-4026-B97E-F82EA7F56083}" type="presParOf" srcId="{41E13F47-50B0-4C65-9F4A-F4669980A3D3}" destId="{BC627420-5C6C-4D72-AEC0-56A4B040BD2E}" srcOrd="0" destOrd="0" presId="urn:microsoft.com/office/officeart/2005/8/layout/vList2"/>
    <dgm:cxn modelId="{355D96A3-88EE-4C8B-A344-E9252E094B3D}" type="presParOf" srcId="{41E13F47-50B0-4C65-9F4A-F4669980A3D3}" destId="{AE3B6265-E121-46EA-BA53-EF8CA4BD0DB2}" srcOrd="1"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chemeClr val="tx2">
            <a:lumMod val="60000"/>
            <a:lumOff val="40000"/>
          </a:schemeClr>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chemeClr val="tx2">
            <a:lumMod val="60000"/>
            <a:lumOff val="40000"/>
          </a:schemeClr>
        </a:solidFill>
      </dgm:spPr>
      <dgm:t>
        <a:bodyPr/>
        <a:lstStyle/>
        <a:p>
          <a:r>
            <a:rPr lang="en-US" dirty="0"/>
            <a:t>Optimized Plan Forcing</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6B2DE824-07EB-4CFC-9784-9D065DF9BDFF}" type="asst">
      <dgm:prSet phldrT="[Text]"/>
      <dgm:spPr>
        <a:solidFill>
          <a:schemeClr val="tx2">
            <a:lumMod val="60000"/>
            <a:lumOff val="40000"/>
          </a:schemeClr>
        </a:solidFill>
      </dgm:spPr>
      <dgm:t>
        <a:bodyPr/>
        <a:lstStyle/>
        <a:p>
          <a:r>
            <a:rPr lang="en-US"/>
            <a:t>Parameter </a:t>
          </a:r>
          <a:r>
            <a:rPr lang="en-US" dirty="0"/>
            <a:t>Sensitive Plan Optimization</a:t>
          </a:r>
        </a:p>
      </dgm:t>
    </dgm:pt>
    <dgm:pt modelId="{BD6659DF-AD63-45F7-9A37-92E5847BA2AA}" type="parTrans" cxnId="{EB4A6390-1D78-45DA-9B1B-CDB2FE9C942F}">
      <dgm:prSet/>
      <dgm:spPr/>
      <dgm:t>
        <a:bodyPr/>
        <a:lstStyle/>
        <a:p>
          <a:endParaRPr lang="en-US"/>
        </a:p>
      </dgm:t>
    </dgm:pt>
    <dgm:pt modelId="{89591776-DA92-4B5E-9F2E-22CC4C2DA597}" type="sibTrans" cxnId="{EB4A6390-1D78-45DA-9B1B-CDB2FE9C942F}">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AA21635-E323-4213-93F2-9043E3D4FE8B}" type="pres">
      <dgm:prSet presAssocID="{15FCCC77-CAD3-4441-BC89-4813ACAA7CA6}" presName="Name19" presStyleLbl="parChTrans1D2" presStyleIdx="4"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6" presStyleCnt="8" custScaleY="96980"/>
      <dgm:spPr/>
    </dgm:pt>
    <dgm:pt modelId="{8F51EDB5-DB41-4525-BCD1-D281C3D91AEB}" type="pres">
      <dgm:prSet presAssocID="{600C9D66-7A8B-44F0-A9F4-A8BC5F7BC1E5}" presName="hierChild3" presStyleCnt="0"/>
      <dgm:spPr/>
    </dgm:pt>
    <dgm:pt modelId="{74C6BCCD-BD7B-426A-9359-D64450E21E2D}" type="pres">
      <dgm:prSet presAssocID="{BD6659DF-AD63-45F7-9A37-92E5847BA2AA}" presName="Name19" presStyleLbl="parChTrans1D2" presStyleIdx="5" presStyleCnt="6"/>
      <dgm:spPr/>
    </dgm:pt>
    <dgm:pt modelId="{11907ECF-E241-4E1D-8EDD-348FC8294B50}" type="pres">
      <dgm:prSet presAssocID="{6B2DE824-07EB-4CFC-9784-9D065DF9BDFF}" presName="Name21" presStyleCnt="0"/>
      <dgm:spPr/>
    </dgm:pt>
    <dgm:pt modelId="{7A2AE38C-F0BE-4DE0-9CE7-6AA387AF0EF1}" type="pres">
      <dgm:prSet presAssocID="{6B2DE824-07EB-4CFC-9784-9D065DF9BDFF}" presName="level2Shape" presStyleLbl="asst1" presStyleIdx="7" presStyleCnt="8"/>
      <dgm:spPr/>
    </dgm:pt>
    <dgm:pt modelId="{A9018AE4-5267-4DB8-8B42-DEE71ABCF05F}" type="pres">
      <dgm:prSet presAssocID="{6B2DE824-07EB-4CFC-9784-9D065DF9BDFF}"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20BF63F-8354-4C25-962B-83C175427778}" srcId="{EC5624F3-2170-43DC-97A6-A153AC2072F1}" destId="{600C9D66-7A8B-44F0-A9F4-A8BC5F7BC1E5}" srcOrd="4"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EB4A6390-1D78-45DA-9B1B-CDB2FE9C942F}" srcId="{EC5624F3-2170-43DC-97A6-A153AC2072F1}" destId="{6B2DE824-07EB-4CFC-9784-9D065DF9BDFF}" srcOrd="5" destOrd="0" parTransId="{BD6659DF-AD63-45F7-9A37-92E5847BA2AA}" sibTransId="{89591776-DA92-4B5E-9F2E-22CC4C2DA597}"/>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C5AFCB3-E9B1-4102-8A2E-9286F9F2C9AE}" type="presOf" srcId="{6B2DE824-07EB-4CFC-9784-9D065DF9BDFF}" destId="{7A2AE38C-F0BE-4DE0-9CE7-6AA387AF0EF1}"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0E97DF-5E75-497C-8398-A18E826F4EA1}" type="presOf" srcId="{BD6659DF-AD63-45F7-9A37-92E5847BA2AA}" destId="{74C6BCCD-BD7B-426A-9359-D64450E21E2D}"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A163ACA0-0CEA-4A68-839B-270C05104CB7}" type="presParOf" srcId="{A65EEE17-B142-4395-9440-82681C1ADA87}" destId="{7AA21635-E323-4213-93F2-9043E3D4FE8B}" srcOrd="8" destOrd="0" presId="urn:microsoft.com/office/officeart/2005/8/layout/hierarchy6"/>
    <dgm:cxn modelId="{D1B1BF6C-65F3-48E0-A768-38E994172B19}" type="presParOf" srcId="{A65EEE17-B142-4395-9440-82681C1ADA87}" destId="{9174776B-7F9A-43D3-9235-6C0CFA545E9F}" srcOrd="9"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84291458-198A-4660-A340-CE89C55BB3D0}" type="presParOf" srcId="{A65EEE17-B142-4395-9440-82681C1ADA87}" destId="{74C6BCCD-BD7B-426A-9359-D64450E21E2D}" srcOrd="10" destOrd="0" presId="urn:microsoft.com/office/officeart/2005/8/layout/hierarchy6"/>
    <dgm:cxn modelId="{A5DFE394-BD50-4678-8D5F-0D3A4E92AD45}" type="presParOf" srcId="{A65EEE17-B142-4395-9440-82681C1ADA87}" destId="{11907ECF-E241-4E1D-8EDD-348FC8294B50}" srcOrd="11" destOrd="0" presId="urn:microsoft.com/office/officeart/2005/8/layout/hierarchy6"/>
    <dgm:cxn modelId="{13EE9920-B0D6-4511-BA1D-8FA771B54811}" type="presParOf" srcId="{11907ECF-E241-4E1D-8EDD-348FC8294B50}" destId="{7A2AE38C-F0BE-4DE0-9CE7-6AA387AF0EF1}" srcOrd="0" destOrd="0" presId="urn:microsoft.com/office/officeart/2005/8/layout/hierarchy6"/>
    <dgm:cxn modelId="{EEA0557F-FE5B-46C4-9599-5E41DFECC7AA}" type="presParOf" srcId="{11907ECF-E241-4E1D-8EDD-348FC8294B50}" destId="{A9018AE4-5267-4DB8-8B42-DEE71ABCF05F}"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59BC0D0-5682-4F6C-87C8-DFEAB89D883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2BEBC5F-871A-4875-B7D5-AAC0896BB920}">
      <dgm:prSet/>
      <dgm:spPr/>
      <dgm:t>
        <a:bodyPr/>
        <a:lstStyle/>
        <a:p>
          <a:r>
            <a:rPr lang="en-GB" b="1" dirty="0"/>
            <a:t>Force Last Good Plan:</a:t>
          </a:r>
          <a:r>
            <a:rPr lang="en-GB" dirty="0"/>
            <a:t> </a:t>
          </a:r>
          <a:endParaRPr lang="en-US" dirty="0"/>
        </a:p>
      </dgm:t>
    </dgm:pt>
    <dgm:pt modelId="{15661EDA-07DC-4524-AC0F-1E451F38FFF1}" type="parTrans" cxnId="{0E0B6437-83F4-4ECC-B5AB-F46B40C7A405}">
      <dgm:prSet/>
      <dgm:spPr/>
      <dgm:t>
        <a:bodyPr/>
        <a:lstStyle/>
        <a:p>
          <a:endParaRPr lang="en-US"/>
        </a:p>
      </dgm:t>
    </dgm:pt>
    <dgm:pt modelId="{71B73C7C-478E-451C-B189-9257635CFEED}" type="sibTrans" cxnId="{0E0B6437-83F4-4ECC-B5AB-F46B40C7A405}">
      <dgm:prSet/>
      <dgm:spPr/>
      <dgm:t>
        <a:bodyPr/>
        <a:lstStyle/>
        <a:p>
          <a:endParaRPr lang="en-US"/>
        </a:p>
      </dgm:t>
    </dgm:pt>
    <dgm:pt modelId="{AD349316-689F-405B-8BA9-CD95C11ADD09}">
      <dgm:prSet/>
      <dgm:spPr/>
      <dgm:t>
        <a:bodyPr/>
        <a:lstStyle/>
        <a:p>
          <a:r>
            <a:rPr lang="en-GB"/>
            <a:t>Identifies and creates Indexes, validates performance improvements and reverts the change if performance degrades.</a:t>
          </a:r>
          <a:endParaRPr lang="en-US"/>
        </a:p>
      </dgm:t>
    </dgm:pt>
    <dgm:pt modelId="{0B43EC16-498B-4248-A702-CF81FB16F9F2}" type="parTrans" cxnId="{A9773F3A-1D0D-4938-AF12-3245434CD584}">
      <dgm:prSet/>
      <dgm:spPr/>
      <dgm:t>
        <a:bodyPr/>
        <a:lstStyle/>
        <a:p>
          <a:endParaRPr lang="en-US"/>
        </a:p>
      </dgm:t>
    </dgm:pt>
    <dgm:pt modelId="{09C07EFD-37DF-466F-8478-F9D8A6B56259}" type="sibTrans" cxnId="{A9773F3A-1D0D-4938-AF12-3245434CD584}">
      <dgm:prSet/>
      <dgm:spPr/>
      <dgm:t>
        <a:bodyPr/>
        <a:lstStyle/>
        <a:p>
          <a:endParaRPr lang="en-US"/>
        </a:p>
      </dgm:t>
    </dgm:pt>
    <dgm:pt modelId="{9938CDD6-DA63-4F0A-8BDE-7795438B97BC}">
      <dgm:prSet/>
      <dgm:spPr/>
      <dgm:t>
        <a:bodyPr/>
        <a:lstStyle/>
        <a:p>
          <a:r>
            <a:rPr lang="en-GB" b="1" dirty="0"/>
            <a:t>Drop Index:</a:t>
          </a:r>
          <a:endParaRPr lang="en-US" dirty="0"/>
        </a:p>
      </dgm:t>
    </dgm:pt>
    <dgm:pt modelId="{B8D51E64-CDAB-4B5B-AC59-908B95C209AC}" type="parTrans" cxnId="{25CD5E39-1751-4B8A-A9D2-B864A08D6CC5}">
      <dgm:prSet/>
      <dgm:spPr/>
      <dgm:t>
        <a:bodyPr/>
        <a:lstStyle/>
        <a:p>
          <a:endParaRPr lang="en-US"/>
        </a:p>
      </dgm:t>
    </dgm:pt>
    <dgm:pt modelId="{9EAB35B6-646C-4EE8-9E6D-81EE673EC03D}" type="sibTrans" cxnId="{25CD5E39-1751-4B8A-A9D2-B864A08D6CC5}">
      <dgm:prSet/>
      <dgm:spPr/>
      <dgm:t>
        <a:bodyPr/>
        <a:lstStyle/>
        <a:p>
          <a:endParaRPr lang="en-US"/>
        </a:p>
      </dgm:t>
    </dgm:pt>
    <dgm:pt modelId="{916655F4-CDCF-4FB4-BCDC-16B9BD7F1109}">
      <dgm:prSet/>
      <dgm:spPr/>
      <dgm:t>
        <a:bodyPr/>
        <a:lstStyle/>
        <a:p>
          <a:r>
            <a:rPr lang="en-GB" dirty="0"/>
            <a:t>Identifies and drops unused Indexes, validates performance improvements and reverts the change if performance degrades.</a:t>
          </a:r>
          <a:endParaRPr lang="en-US" dirty="0"/>
        </a:p>
      </dgm:t>
    </dgm:pt>
    <dgm:pt modelId="{CA2E53BA-F5E0-4EAF-901B-6BFF57188727}" type="parTrans" cxnId="{767AEF81-A7E5-4518-9B02-FF04B082FD10}">
      <dgm:prSet/>
      <dgm:spPr/>
      <dgm:t>
        <a:bodyPr/>
        <a:lstStyle/>
        <a:p>
          <a:endParaRPr lang="en-US"/>
        </a:p>
      </dgm:t>
    </dgm:pt>
    <dgm:pt modelId="{83728A47-F47E-4D3E-BB02-3A3125756CB7}" type="sibTrans" cxnId="{767AEF81-A7E5-4518-9B02-FF04B082FD10}">
      <dgm:prSet/>
      <dgm:spPr/>
      <dgm:t>
        <a:bodyPr/>
        <a:lstStyle/>
        <a:p>
          <a:endParaRPr lang="en-US"/>
        </a:p>
      </dgm:t>
    </dgm:pt>
    <dgm:pt modelId="{4C070600-BD65-470A-87CF-2DBC7BDED149}">
      <dgm:prSet/>
      <dgm:spPr/>
      <dgm:t>
        <a:bodyPr/>
        <a:lstStyle/>
        <a:p>
          <a:r>
            <a:rPr lang="en-GB" dirty="0"/>
            <a:t>Identifies regressed queries due to bad plan and replaces the bad plan with last Good Plan, validates performance improvements and reverts the change if performance does not improve.</a:t>
          </a:r>
          <a:endParaRPr lang="en-US" dirty="0"/>
        </a:p>
      </dgm:t>
    </dgm:pt>
    <dgm:pt modelId="{9863FE90-9A95-4DAE-BD67-CBCE0FF5DBF5}" type="parTrans" cxnId="{306948CD-2687-4759-A6F9-9D9B82F0C65B}">
      <dgm:prSet/>
      <dgm:spPr/>
      <dgm:t>
        <a:bodyPr/>
        <a:lstStyle/>
        <a:p>
          <a:endParaRPr lang="en-US"/>
        </a:p>
      </dgm:t>
    </dgm:pt>
    <dgm:pt modelId="{F32D9CC5-C083-4619-B33C-73CB642F996D}" type="sibTrans" cxnId="{306948CD-2687-4759-A6F9-9D9B82F0C65B}">
      <dgm:prSet/>
      <dgm:spPr/>
      <dgm:t>
        <a:bodyPr/>
        <a:lstStyle/>
        <a:p>
          <a:endParaRPr lang="en-US"/>
        </a:p>
      </dgm:t>
    </dgm:pt>
    <dgm:pt modelId="{044FC4B6-3BA7-4CE0-8063-931409F1B7BB}">
      <dgm:prSet/>
      <dgm:spPr/>
      <dgm:t>
        <a:bodyPr/>
        <a:lstStyle/>
        <a:p>
          <a:r>
            <a:rPr lang="en-GB" b="1"/>
            <a:t>Create Index:</a:t>
          </a:r>
          <a:r>
            <a:rPr lang="en-GB"/>
            <a:t> </a:t>
          </a:r>
          <a:endParaRPr lang="en-US" dirty="0"/>
        </a:p>
      </dgm:t>
    </dgm:pt>
    <dgm:pt modelId="{C88C1D44-6DC3-48BF-A766-3C6908A739CC}" type="parTrans" cxnId="{D2819FE8-BB0B-401C-8D0B-9D633038D5E2}">
      <dgm:prSet/>
      <dgm:spPr/>
      <dgm:t>
        <a:bodyPr/>
        <a:lstStyle/>
        <a:p>
          <a:endParaRPr lang="en-US"/>
        </a:p>
      </dgm:t>
    </dgm:pt>
    <dgm:pt modelId="{78DA22FB-8C2E-49BB-A9F5-DF0D2428469E}" type="sibTrans" cxnId="{D2819FE8-BB0B-401C-8D0B-9D633038D5E2}">
      <dgm:prSet/>
      <dgm:spPr/>
      <dgm:t>
        <a:bodyPr/>
        <a:lstStyle/>
        <a:p>
          <a:endParaRPr lang="en-US"/>
        </a:p>
      </dgm:t>
    </dgm:pt>
    <dgm:pt modelId="{D2CCA4ED-F8D9-4AC1-A9A9-62C9EEB0EF7A}" type="pres">
      <dgm:prSet presAssocID="{859BC0D0-5682-4F6C-87C8-DFEAB89D8834}" presName="linear" presStyleCnt="0">
        <dgm:presLayoutVars>
          <dgm:animLvl val="lvl"/>
          <dgm:resizeHandles val="exact"/>
        </dgm:presLayoutVars>
      </dgm:prSet>
      <dgm:spPr/>
    </dgm:pt>
    <dgm:pt modelId="{509C5CDD-13D0-4971-9C2E-035E71F9BA49}" type="pres">
      <dgm:prSet presAssocID="{D2BEBC5F-871A-4875-B7D5-AAC0896BB920}" presName="parentText" presStyleLbl="node1" presStyleIdx="0" presStyleCnt="3">
        <dgm:presLayoutVars>
          <dgm:chMax val="0"/>
          <dgm:bulletEnabled val="1"/>
        </dgm:presLayoutVars>
      </dgm:prSet>
      <dgm:spPr/>
    </dgm:pt>
    <dgm:pt modelId="{3332498D-B1B4-4BEE-8E10-B14EBD545110}" type="pres">
      <dgm:prSet presAssocID="{D2BEBC5F-871A-4875-B7D5-AAC0896BB920}" presName="childText" presStyleLbl="revTx" presStyleIdx="0" presStyleCnt="3">
        <dgm:presLayoutVars>
          <dgm:bulletEnabled val="1"/>
        </dgm:presLayoutVars>
      </dgm:prSet>
      <dgm:spPr/>
    </dgm:pt>
    <dgm:pt modelId="{24F84A27-EB51-4E4A-967C-A571E610E2AB}" type="pres">
      <dgm:prSet presAssocID="{044FC4B6-3BA7-4CE0-8063-931409F1B7BB}" presName="parentText" presStyleLbl="node1" presStyleIdx="1" presStyleCnt="3">
        <dgm:presLayoutVars>
          <dgm:chMax val="0"/>
          <dgm:bulletEnabled val="1"/>
        </dgm:presLayoutVars>
      </dgm:prSet>
      <dgm:spPr/>
    </dgm:pt>
    <dgm:pt modelId="{70F6EA63-FFDB-4F82-8FF1-8F4E36165235}" type="pres">
      <dgm:prSet presAssocID="{044FC4B6-3BA7-4CE0-8063-931409F1B7BB}" presName="childText" presStyleLbl="revTx" presStyleIdx="1" presStyleCnt="3">
        <dgm:presLayoutVars>
          <dgm:bulletEnabled val="1"/>
        </dgm:presLayoutVars>
      </dgm:prSet>
      <dgm:spPr/>
    </dgm:pt>
    <dgm:pt modelId="{C4AB264D-B8D8-44DC-B1B4-A90DCA65B562}" type="pres">
      <dgm:prSet presAssocID="{9938CDD6-DA63-4F0A-8BDE-7795438B97BC}" presName="parentText" presStyleLbl="node1" presStyleIdx="2" presStyleCnt="3">
        <dgm:presLayoutVars>
          <dgm:chMax val="0"/>
          <dgm:bulletEnabled val="1"/>
        </dgm:presLayoutVars>
      </dgm:prSet>
      <dgm:spPr/>
    </dgm:pt>
    <dgm:pt modelId="{1F25FBA9-B4C3-49F7-A227-0A2C7D63ADB3}" type="pres">
      <dgm:prSet presAssocID="{9938CDD6-DA63-4F0A-8BDE-7795438B97BC}" presName="childText" presStyleLbl="revTx" presStyleIdx="2" presStyleCnt="3">
        <dgm:presLayoutVars>
          <dgm:bulletEnabled val="1"/>
        </dgm:presLayoutVars>
      </dgm:prSet>
      <dgm:spPr/>
    </dgm:pt>
  </dgm:ptLst>
  <dgm:cxnLst>
    <dgm:cxn modelId="{55C4F724-E919-405C-AA7A-42F36839E008}" type="presOf" srcId="{9938CDD6-DA63-4F0A-8BDE-7795438B97BC}" destId="{C4AB264D-B8D8-44DC-B1B4-A90DCA65B562}" srcOrd="0" destOrd="0" presId="urn:microsoft.com/office/officeart/2005/8/layout/vList2"/>
    <dgm:cxn modelId="{69C88B2A-3FEC-4C58-BAF4-29BC3C37F19C}" type="presOf" srcId="{044FC4B6-3BA7-4CE0-8063-931409F1B7BB}" destId="{24F84A27-EB51-4E4A-967C-A571E610E2AB}" srcOrd="0" destOrd="0" presId="urn:microsoft.com/office/officeart/2005/8/layout/vList2"/>
    <dgm:cxn modelId="{42FDB02C-B468-423D-8331-46F0FC927FE4}" type="presOf" srcId="{AD349316-689F-405B-8BA9-CD95C11ADD09}" destId="{70F6EA63-FFDB-4F82-8FF1-8F4E36165235}" srcOrd="0" destOrd="0" presId="urn:microsoft.com/office/officeart/2005/8/layout/vList2"/>
    <dgm:cxn modelId="{0E0B6437-83F4-4ECC-B5AB-F46B40C7A405}" srcId="{859BC0D0-5682-4F6C-87C8-DFEAB89D8834}" destId="{D2BEBC5F-871A-4875-B7D5-AAC0896BB920}" srcOrd="0" destOrd="0" parTransId="{15661EDA-07DC-4524-AC0F-1E451F38FFF1}" sibTransId="{71B73C7C-478E-451C-B189-9257635CFEED}"/>
    <dgm:cxn modelId="{25CD5E39-1751-4B8A-A9D2-B864A08D6CC5}" srcId="{859BC0D0-5682-4F6C-87C8-DFEAB89D8834}" destId="{9938CDD6-DA63-4F0A-8BDE-7795438B97BC}" srcOrd="2" destOrd="0" parTransId="{B8D51E64-CDAB-4B5B-AC59-908B95C209AC}" sibTransId="{9EAB35B6-646C-4EE8-9E6D-81EE673EC03D}"/>
    <dgm:cxn modelId="{A9773F3A-1D0D-4938-AF12-3245434CD584}" srcId="{044FC4B6-3BA7-4CE0-8063-931409F1B7BB}" destId="{AD349316-689F-405B-8BA9-CD95C11ADD09}" srcOrd="0" destOrd="0" parTransId="{0B43EC16-498B-4248-A702-CF81FB16F9F2}" sibTransId="{09C07EFD-37DF-466F-8478-F9D8A6B56259}"/>
    <dgm:cxn modelId="{115D3970-54DB-44D4-AA0C-39DE62C0E203}" type="presOf" srcId="{859BC0D0-5682-4F6C-87C8-DFEAB89D8834}" destId="{D2CCA4ED-F8D9-4AC1-A9A9-62C9EEB0EF7A}" srcOrd="0" destOrd="0" presId="urn:microsoft.com/office/officeart/2005/8/layout/vList2"/>
    <dgm:cxn modelId="{767AEF81-A7E5-4518-9B02-FF04B082FD10}" srcId="{9938CDD6-DA63-4F0A-8BDE-7795438B97BC}" destId="{916655F4-CDCF-4FB4-BCDC-16B9BD7F1109}" srcOrd="0" destOrd="0" parTransId="{CA2E53BA-F5E0-4EAF-901B-6BFF57188727}" sibTransId="{83728A47-F47E-4D3E-BB02-3A3125756CB7}"/>
    <dgm:cxn modelId="{C06E2198-F0B6-453F-A229-F34643A0BE27}" type="presOf" srcId="{D2BEBC5F-871A-4875-B7D5-AAC0896BB920}" destId="{509C5CDD-13D0-4971-9C2E-035E71F9BA49}" srcOrd="0" destOrd="0" presId="urn:microsoft.com/office/officeart/2005/8/layout/vList2"/>
    <dgm:cxn modelId="{3BDE33BF-5947-48BE-88C5-E31A542DEB01}" type="presOf" srcId="{4C070600-BD65-470A-87CF-2DBC7BDED149}" destId="{3332498D-B1B4-4BEE-8E10-B14EBD545110}" srcOrd="0" destOrd="0" presId="urn:microsoft.com/office/officeart/2005/8/layout/vList2"/>
    <dgm:cxn modelId="{EB2369CA-98F0-4920-AA29-7C224E3893D7}" type="presOf" srcId="{916655F4-CDCF-4FB4-BCDC-16B9BD7F1109}" destId="{1F25FBA9-B4C3-49F7-A227-0A2C7D63ADB3}" srcOrd="0" destOrd="0" presId="urn:microsoft.com/office/officeart/2005/8/layout/vList2"/>
    <dgm:cxn modelId="{306948CD-2687-4759-A6F9-9D9B82F0C65B}" srcId="{D2BEBC5F-871A-4875-B7D5-AAC0896BB920}" destId="{4C070600-BD65-470A-87CF-2DBC7BDED149}" srcOrd="0" destOrd="0" parTransId="{9863FE90-9A95-4DAE-BD67-CBCE0FF5DBF5}" sibTransId="{F32D9CC5-C083-4619-B33C-73CB642F996D}"/>
    <dgm:cxn modelId="{D2819FE8-BB0B-401C-8D0B-9D633038D5E2}" srcId="{859BC0D0-5682-4F6C-87C8-DFEAB89D8834}" destId="{044FC4B6-3BA7-4CE0-8063-931409F1B7BB}" srcOrd="1" destOrd="0" parTransId="{C88C1D44-6DC3-48BF-A766-3C6908A739CC}" sibTransId="{78DA22FB-8C2E-49BB-A9F5-DF0D2428469E}"/>
    <dgm:cxn modelId="{9B8FF3AE-8CE7-4E4D-A86E-51001E326AE3}" type="presParOf" srcId="{D2CCA4ED-F8D9-4AC1-A9A9-62C9EEB0EF7A}" destId="{509C5CDD-13D0-4971-9C2E-035E71F9BA49}" srcOrd="0" destOrd="0" presId="urn:microsoft.com/office/officeart/2005/8/layout/vList2"/>
    <dgm:cxn modelId="{80DFEAF4-9DD3-4E37-BD7D-7ED82D41B008}" type="presParOf" srcId="{D2CCA4ED-F8D9-4AC1-A9A9-62C9EEB0EF7A}" destId="{3332498D-B1B4-4BEE-8E10-B14EBD545110}" srcOrd="1" destOrd="0" presId="urn:microsoft.com/office/officeart/2005/8/layout/vList2"/>
    <dgm:cxn modelId="{0F8835A5-CD0E-4113-B864-B337557B20B8}" type="presParOf" srcId="{D2CCA4ED-F8D9-4AC1-A9A9-62C9EEB0EF7A}" destId="{24F84A27-EB51-4E4A-967C-A571E610E2AB}" srcOrd="2" destOrd="0" presId="urn:microsoft.com/office/officeart/2005/8/layout/vList2"/>
    <dgm:cxn modelId="{6E873D75-B77A-4AF4-B3EF-E49AA8B51F6A}" type="presParOf" srcId="{D2CCA4ED-F8D9-4AC1-A9A9-62C9EEB0EF7A}" destId="{70F6EA63-FFDB-4F82-8FF1-8F4E36165235}" srcOrd="3" destOrd="0" presId="urn:microsoft.com/office/officeart/2005/8/layout/vList2"/>
    <dgm:cxn modelId="{BB8E9476-99E5-42EF-9E36-CC1B2AF1795B}" type="presParOf" srcId="{D2CCA4ED-F8D9-4AC1-A9A9-62C9EEB0EF7A}" destId="{C4AB264D-B8D8-44DC-B1B4-A90DCA65B562}" srcOrd="4" destOrd="0" presId="urn:microsoft.com/office/officeart/2005/8/layout/vList2"/>
    <dgm:cxn modelId="{FC2265EF-C246-4D68-95C8-D76FBC06FECE}" type="presParOf" srcId="{D2CCA4ED-F8D9-4AC1-A9A9-62C9EEB0EF7A}" destId="{1F25FBA9-B4C3-49F7-A227-0A2C7D63ADB3}"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B9E8E93-E505-4F61-B986-63526300BB1E}">
      <dgm:prSet phldrT="[Text]" phldr="0"/>
      <dgm:spPr/>
      <dgm:t>
        <a:bodyPr/>
        <a:lstStyle/>
        <a:p>
          <a:r>
            <a:rPr lang="en-US" b="1" dirty="0"/>
            <a:t>Parameter Sensitive Plans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dirty="0">
              <a:latin typeface="+mn-lt"/>
            </a:rPr>
            <a:t>Parameter-sniffing problem refers to a scenario where a </a:t>
          </a:r>
          <a:r>
            <a:rPr lang="en-US" b="1" dirty="0">
              <a:latin typeface="+mn-lt"/>
            </a:rPr>
            <a:t>single</a:t>
          </a:r>
          <a:r>
            <a:rPr lang="en-US" dirty="0">
              <a:latin typeface="+mn-lt"/>
            </a:rPr>
            <a:t> cached plan for a parameterized query is </a:t>
          </a:r>
          <a:r>
            <a:rPr lang="en-US" b="1" dirty="0">
              <a:latin typeface="+mn-lt"/>
            </a:rPr>
            <a:t>not optimal for all </a:t>
          </a:r>
          <a:r>
            <a:rPr lang="en-US" dirty="0">
              <a:latin typeface="+mn-lt"/>
            </a:rPr>
            <a:t>possible input parameter values</a:t>
          </a:r>
          <a:endParaRPr lang="en-US"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03570B6-A9B3-4503-9657-40D4D8DA2DBE}">
      <dgm:prSet/>
      <dgm:spPr/>
      <dgm:t>
        <a:bodyPr/>
        <a:lstStyle/>
        <a:p>
          <a:r>
            <a:rPr lang="en-US"/>
            <a:t>RECOMPILE</a:t>
          </a:r>
          <a:endParaRPr lang="en-US" dirty="0"/>
        </a:p>
      </dgm:t>
    </dgm:pt>
    <dgm:pt modelId="{536C0EB9-D4E7-47EC-91E3-67CC6342F1D7}" type="parTrans" cxnId="{CC9C692B-A428-4FFE-A59D-800E099B7A27}">
      <dgm:prSet/>
      <dgm:spPr/>
      <dgm:t>
        <a:bodyPr/>
        <a:lstStyle/>
        <a:p>
          <a:endParaRPr lang="en-US"/>
        </a:p>
      </dgm:t>
    </dgm:pt>
    <dgm:pt modelId="{E2A3079E-CE9A-4ACA-9C99-48A993D554B8}" type="sibTrans" cxnId="{CC9C692B-A428-4FFE-A59D-800E099B7A27}">
      <dgm:prSet/>
      <dgm:spPr/>
      <dgm:t>
        <a:bodyPr/>
        <a:lstStyle/>
        <a:p>
          <a:endParaRPr lang="en-US"/>
        </a:p>
      </dgm:t>
    </dgm:pt>
    <dgm:pt modelId="{FECC6121-E28F-4BE0-AE1C-747308641080}">
      <dgm:prSet phldrT="[Text]" phldr="0"/>
      <dgm:spPr/>
      <dgm:t>
        <a:bodyPr/>
        <a:lstStyle/>
        <a:p>
          <a:r>
            <a:rPr lang="en-US" b="1" dirty="0"/>
            <a:t>Current Workarounds</a:t>
          </a:r>
        </a:p>
      </dgm:t>
    </dgm:pt>
    <dgm:pt modelId="{906B4977-F3E5-4B93-83EB-11FC5247CDFD}" type="parTrans" cxnId="{A27048B4-F2AE-411E-BF82-923F64C4A9B5}">
      <dgm:prSet/>
      <dgm:spPr/>
      <dgm:t>
        <a:bodyPr/>
        <a:lstStyle/>
        <a:p>
          <a:endParaRPr lang="en-US"/>
        </a:p>
      </dgm:t>
    </dgm:pt>
    <dgm:pt modelId="{01681DA4-66CE-4A55-A9E2-6D4658A7195F}" type="sibTrans" cxnId="{A27048B4-F2AE-411E-BF82-923F64C4A9B5}">
      <dgm:prSet/>
      <dgm:spPr/>
      <dgm:t>
        <a:bodyPr/>
        <a:lstStyle/>
        <a:p>
          <a:endParaRPr lang="en-US"/>
        </a:p>
      </dgm:t>
    </dgm:pt>
    <dgm:pt modelId="{92CB7DAD-CAB5-4D0B-9639-27F3E09056A1}">
      <dgm:prSet phldrT="[Text]" phldr="0"/>
      <dgm:spPr/>
      <dgm:t>
        <a:bodyPr/>
        <a:lstStyle/>
        <a:p>
          <a:r>
            <a:rPr lang="en-US" dirty="0">
              <a:latin typeface="+mn-lt"/>
            </a:rPr>
            <a:t>If plan is not representative of most executions, you have a perceived “bad plan”</a:t>
          </a:r>
          <a:endParaRPr lang="en-US" b="0" dirty="0"/>
        </a:p>
      </dgm:t>
    </dgm:pt>
    <dgm:pt modelId="{6CA1768C-402D-4696-A191-6101BE052A70}" type="parTrans" cxnId="{0A619743-493D-4EE4-B4F0-E8D5DC9A8119}">
      <dgm:prSet/>
      <dgm:spPr/>
      <dgm:t>
        <a:bodyPr/>
        <a:lstStyle/>
        <a:p>
          <a:endParaRPr lang="en-US"/>
        </a:p>
      </dgm:t>
    </dgm:pt>
    <dgm:pt modelId="{9B44B2A1-444C-482C-B5DF-081283522B44}" type="sibTrans" cxnId="{0A619743-493D-4EE4-B4F0-E8D5DC9A8119}">
      <dgm:prSet/>
      <dgm:spPr/>
      <dgm:t>
        <a:bodyPr/>
        <a:lstStyle/>
        <a:p>
          <a:endParaRPr lang="en-US"/>
        </a:p>
      </dgm:t>
    </dgm:pt>
    <dgm:pt modelId="{6BDE6565-DA93-4269-804E-8B811DD234C9}">
      <dgm:prSet/>
      <dgm:spPr/>
      <dgm:t>
        <a:bodyPr/>
        <a:lstStyle/>
        <a:p>
          <a:r>
            <a:rPr lang="en-US"/>
            <a:t>OPTION (OPTIMIZE FOR…)</a:t>
          </a:r>
        </a:p>
      </dgm:t>
    </dgm:pt>
    <dgm:pt modelId="{9712CA9B-D579-4095-9300-A7981223BDAE}" type="parTrans" cxnId="{22E95F8A-928E-44FC-A451-B57484B19CC9}">
      <dgm:prSet/>
      <dgm:spPr/>
      <dgm:t>
        <a:bodyPr/>
        <a:lstStyle/>
        <a:p>
          <a:endParaRPr lang="en-US"/>
        </a:p>
      </dgm:t>
    </dgm:pt>
    <dgm:pt modelId="{FCCFA110-CE50-49DC-BD30-6245ED4B7D1D}" type="sibTrans" cxnId="{22E95F8A-928E-44FC-A451-B57484B19CC9}">
      <dgm:prSet/>
      <dgm:spPr/>
      <dgm:t>
        <a:bodyPr/>
        <a:lstStyle/>
        <a:p>
          <a:endParaRPr lang="en-US"/>
        </a:p>
      </dgm:t>
    </dgm:pt>
    <dgm:pt modelId="{DC7A34C3-5303-4371-B5A2-DFA88E739090}">
      <dgm:prSet/>
      <dgm:spPr/>
      <dgm:t>
        <a:bodyPr/>
        <a:lstStyle/>
        <a:p>
          <a:r>
            <a:rPr lang="en-US" dirty="0"/>
            <a:t>OPTION (OPTIMIZE FOR UNKNOWN)</a:t>
          </a:r>
        </a:p>
      </dgm:t>
    </dgm:pt>
    <dgm:pt modelId="{8E5D3D32-2F23-408F-BF9B-450344F2F7B2}" type="parTrans" cxnId="{1A2E3AFD-5AFE-49AA-BEFA-3FDB3B8D1CD2}">
      <dgm:prSet/>
      <dgm:spPr/>
      <dgm:t>
        <a:bodyPr/>
        <a:lstStyle/>
        <a:p>
          <a:endParaRPr lang="en-US"/>
        </a:p>
      </dgm:t>
    </dgm:pt>
    <dgm:pt modelId="{1A06DA28-F134-4E2E-A2B6-F6BA104CEDF7}" type="sibTrans" cxnId="{1A2E3AFD-5AFE-49AA-BEFA-3FDB3B8D1CD2}">
      <dgm:prSet/>
      <dgm:spPr/>
      <dgm:t>
        <a:bodyPr/>
        <a:lstStyle/>
        <a:p>
          <a:endParaRPr lang="en-US"/>
        </a:p>
      </dgm:t>
    </dgm:pt>
    <dgm:pt modelId="{AB46ADF8-9EC3-4C76-920D-FBACAC84DFAF}">
      <dgm:prSet/>
      <dgm:spPr/>
      <dgm:t>
        <a:bodyPr/>
        <a:lstStyle/>
        <a:p>
          <a:r>
            <a:rPr lang="en-US" dirty="0"/>
            <a:t>Disable parameter sniffing entirely </a:t>
          </a:r>
        </a:p>
      </dgm:t>
    </dgm:pt>
    <dgm:pt modelId="{1CB3804E-5754-421E-9AC0-49A005B1EB55}" type="parTrans" cxnId="{1C30F95F-6260-475D-939E-273D79B397AC}">
      <dgm:prSet/>
      <dgm:spPr/>
      <dgm:t>
        <a:bodyPr/>
        <a:lstStyle/>
        <a:p>
          <a:endParaRPr lang="en-US"/>
        </a:p>
      </dgm:t>
    </dgm:pt>
    <dgm:pt modelId="{9DDFA32B-E62D-499D-A456-688A4790E5D3}" type="sibTrans" cxnId="{1C30F95F-6260-475D-939E-273D79B397AC}">
      <dgm:prSet/>
      <dgm:spPr/>
      <dgm:t>
        <a:bodyPr/>
        <a:lstStyle/>
        <a:p>
          <a:endParaRPr lang="en-US"/>
        </a:p>
      </dgm:t>
    </dgm:pt>
    <dgm:pt modelId="{58DE9527-F41D-4BFB-9F76-D77FE1577170}">
      <dgm:prSet/>
      <dgm:spPr/>
      <dgm:t>
        <a:bodyPr/>
        <a:lstStyle/>
        <a:p>
          <a:r>
            <a:rPr lang="en-US" dirty="0"/>
            <a:t>KEEPFIXEDPLAN</a:t>
          </a:r>
        </a:p>
      </dgm:t>
    </dgm:pt>
    <dgm:pt modelId="{772E7FE7-6877-4082-A69E-E332EB00FDCB}" type="parTrans" cxnId="{0DFF7885-A1AB-4C98-A3EE-698EC89CE00A}">
      <dgm:prSet/>
      <dgm:spPr/>
      <dgm:t>
        <a:bodyPr/>
        <a:lstStyle/>
        <a:p>
          <a:endParaRPr lang="en-US"/>
        </a:p>
      </dgm:t>
    </dgm:pt>
    <dgm:pt modelId="{9E5568E7-AA25-4E33-B782-8E0CCE3CD8A8}" type="sibTrans" cxnId="{0DFF7885-A1AB-4C98-A3EE-698EC89CE00A}">
      <dgm:prSet/>
      <dgm:spPr/>
      <dgm:t>
        <a:bodyPr/>
        <a:lstStyle/>
        <a:p>
          <a:endParaRPr lang="en-US"/>
        </a:p>
      </dgm:t>
    </dgm:pt>
    <dgm:pt modelId="{191D4A74-DE33-4CA0-8E59-E7263D7EDBFF}">
      <dgm:prSet/>
      <dgm:spPr/>
      <dgm:t>
        <a:bodyPr/>
        <a:lstStyle/>
        <a:p>
          <a:r>
            <a:rPr lang="en-US"/>
            <a:t>Force a known plan</a:t>
          </a:r>
        </a:p>
      </dgm:t>
    </dgm:pt>
    <dgm:pt modelId="{4DD1E6CD-F976-42CC-AD9E-EA117ED8CC50}" type="parTrans" cxnId="{A64AB011-4355-4815-8A08-C4EE5197DBF8}">
      <dgm:prSet/>
      <dgm:spPr/>
      <dgm:t>
        <a:bodyPr/>
        <a:lstStyle/>
        <a:p>
          <a:endParaRPr lang="en-US"/>
        </a:p>
      </dgm:t>
    </dgm:pt>
    <dgm:pt modelId="{B5B2BAB8-DE27-4531-AEFF-B30AC4F0F424}" type="sibTrans" cxnId="{A64AB011-4355-4815-8A08-C4EE5197DBF8}">
      <dgm:prSet/>
      <dgm:spPr/>
      <dgm:t>
        <a:bodyPr/>
        <a:lstStyle/>
        <a:p>
          <a:endParaRPr lang="en-US"/>
        </a:p>
      </dgm:t>
    </dgm:pt>
    <dgm:pt modelId="{762E3DA8-537E-4034-B770-ED9AE8FE14DB}">
      <dgm:prSet/>
      <dgm:spPr/>
      <dgm:t>
        <a:bodyPr/>
        <a:lstStyle/>
        <a:p>
          <a:r>
            <a:rPr lang="en-US" dirty="0"/>
            <a:t>Nested procedures</a:t>
          </a:r>
        </a:p>
      </dgm:t>
    </dgm:pt>
    <dgm:pt modelId="{777C9AF4-4AF3-420B-BDB0-9487EA084827}" type="parTrans" cxnId="{C35493D8-234C-422D-84FA-9CBD42D71B1C}">
      <dgm:prSet/>
      <dgm:spPr/>
      <dgm:t>
        <a:bodyPr/>
        <a:lstStyle/>
        <a:p>
          <a:endParaRPr lang="en-US"/>
        </a:p>
      </dgm:t>
    </dgm:pt>
    <dgm:pt modelId="{B31A1121-F0DA-4D4B-BB71-C5EBA101A1F7}" type="sibTrans" cxnId="{C35493D8-234C-422D-84FA-9CBD42D71B1C}">
      <dgm:prSet/>
      <dgm:spPr/>
      <dgm:t>
        <a:bodyPr/>
        <a:lstStyle/>
        <a:p>
          <a:endParaRPr lang="en-US"/>
        </a:p>
      </dgm:t>
    </dgm:pt>
    <dgm:pt modelId="{22CEDA83-D5A0-48DB-8163-E40BFC900E3A}">
      <dgm:prSet/>
      <dgm:spPr/>
      <dgm:t>
        <a:bodyPr/>
        <a:lstStyle/>
        <a:p>
          <a:r>
            <a:rPr lang="en-US" dirty="0"/>
            <a:t>Dynamic string execution</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2"/>
      <dgm:spPr/>
    </dgm:pt>
    <dgm:pt modelId="{09DF4224-3D80-47D7-B2BA-0A0BBC33BA22}" type="pres">
      <dgm:prSet presAssocID="{FB9E8E93-E505-4F61-B986-63526300BB1E}" presName="parentText" presStyleLbl="node1" presStyleIdx="0" presStyleCnt="2">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2">
        <dgm:presLayoutVars>
          <dgm:bulletEnabled val="1"/>
        </dgm:presLayoutVars>
      </dgm:prSet>
      <dgm:spPr/>
    </dgm:pt>
    <dgm:pt modelId="{D0489F86-43E1-45D4-A0BE-724C960BF713}" type="pres">
      <dgm:prSet presAssocID="{D0DB3B49-9806-45F0-815F-F683F3A245D5}" presName="spaceBetweenRectangles" presStyleCnt="0"/>
      <dgm:spPr/>
    </dgm:pt>
    <dgm:pt modelId="{60F703C6-E9B5-4E10-87DC-F22DE0392E69}" type="pres">
      <dgm:prSet presAssocID="{FECC6121-E28F-4BE0-AE1C-747308641080}" presName="parentLin" presStyleCnt="0"/>
      <dgm:spPr/>
    </dgm:pt>
    <dgm:pt modelId="{650EC44F-F836-4943-AC39-1C53DC90C16F}" type="pres">
      <dgm:prSet presAssocID="{FECC6121-E28F-4BE0-AE1C-747308641080}" presName="parentLeftMargin" presStyleLbl="node1" presStyleIdx="0" presStyleCnt="2"/>
      <dgm:spPr/>
    </dgm:pt>
    <dgm:pt modelId="{8EDC92CE-1AB4-4FAD-8EB9-3304E9FB1C42}" type="pres">
      <dgm:prSet presAssocID="{FECC6121-E28F-4BE0-AE1C-747308641080}" presName="parentText" presStyleLbl="node1" presStyleIdx="1" presStyleCnt="2">
        <dgm:presLayoutVars>
          <dgm:chMax val="0"/>
          <dgm:bulletEnabled val="1"/>
        </dgm:presLayoutVars>
      </dgm:prSet>
      <dgm:spPr/>
    </dgm:pt>
    <dgm:pt modelId="{F6542E23-8949-4197-AC32-5529996D8DDA}" type="pres">
      <dgm:prSet presAssocID="{FECC6121-E28F-4BE0-AE1C-747308641080}" presName="negativeSpace" presStyleCnt="0"/>
      <dgm:spPr/>
    </dgm:pt>
    <dgm:pt modelId="{1738A5E9-7294-453F-BC26-FB76949CBB6D}" type="pres">
      <dgm:prSet presAssocID="{FECC6121-E28F-4BE0-AE1C-747308641080}" presName="childText" presStyleLbl="conFgAcc1" presStyleIdx="1" presStyleCnt="2">
        <dgm:presLayoutVars>
          <dgm:bulletEnabled val="1"/>
        </dgm:presLayoutVars>
      </dgm:prSet>
      <dgm:spPr/>
    </dgm:pt>
  </dgm:ptLst>
  <dgm:cxnLst>
    <dgm:cxn modelId="{9E49E00B-EE5E-46BC-A929-4110C97F26F0}" srcId="{FECC6121-E28F-4BE0-AE1C-747308641080}" destId="{22CEDA83-D5A0-48DB-8163-E40BFC900E3A}" srcOrd="7" destOrd="0" parTransId="{FFA84FBB-5C0E-4271-ADEC-F93B38D5AC82}" sibTransId="{641045D7-E9BC-4DA4-8321-010DF4C62CB0}"/>
    <dgm:cxn modelId="{91054B0F-CFC9-4B13-8ACC-026099ED3D6F}" srcId="{FB9E8E93-E505-4F61-B986-63526300BB1E}" destId="{A654B2B1-C9D2-4EB8-AF32-8F6E55E2795A}" srcOrd="0" destOrd="0" parTransId="{CBA502F4-88E7-406E-95E5-6DC4445E9C2C}" sibTransId="{9C833BE3-3094-478A-8F33-507752BF4F20}"/>
    <dgm:cxn modelId="{A64AB011-4355-4815-8A08-C4EE5197DBF8}" srcId="{FECC6121-E28F-4BE0-AE1C-747308641080}" destId="{191D4A74-DE33-4CA0-8E59-E7263D7EDBFF}" srcOrd="5" destOrd="0" parTransId="{4DD1E6CD-F976-42CC-AD9E-EA117ED8CC50}" sibTransId="{B5B2BAB8-DE27-4531-AEFF-B30AC4F0F424}"/>
    <dgm:cxn modelId="{3644A218-DE81-4E33-A6D3-A7DB679C6880}" type="presOf" srcId="{AB46ADF8-9EC3-4C76-920D-FBACAC84DFAF}" destId="{1738A5E9-7294-453F-BC26-FB76949CBB6D}" srcOrd="0" destOrd="3" presId="urn:microsoft.com/office/officeart/2005/8/layout/list1"/>
    <dgm:cxn modelId="{CC9C692B-A428-4FFE-A59D-800E099B7A27}" srcId="{FECC6121-E28F-4BE0-AE1C-747308641080}" destId="{603570B6-A9B3-4503-9657-40D4D8DA2DBE}" srcOrd="0" destOrd="0" parTransId="{536C0EB9-D4E7-47EC-91E3-67CC6342F1D7}" sibTransId="{E2A3079E-CE9A-4ACA-9C99-48A993D554B8}"/>
    <dgm:cxn modelId="{BE498D32-DC0E-4EE0-91FC-219787506027}" type="presOf" srcId="{22CEDA83-D5A0-48DB-8163-E40BFC900E3A}" destId="{1738A5E9-7294-453F-BC26-FB76949CBB6D}" srcOrd="0" destOrd="7" presId="urn:microsoft.com/office/officeart/2005/8/layout/list1"/>
    <dgm:cxn modelId="{BD13F25F-FC2A-48F6-BC9A-849DC4BBD562}" type="presOf" srcId="{5CAC6E89-8D61-41CE-B485-D446E81BC557}" destId="{B902A285-C333-498D-BE6D-38566E131EA4}" srcOrd="0" destOrd="0" presId="urn:microsoft.com/office/officeart/2005/8/layout/list1"/>
    <dgm:cxn modelId="{1C30F95F-6260-475D-939E-273D79B397AC}" srcId="{FECC6121-E28F-4BE0-AE1C-747308641080}" destId="{AB46ADF8-9EC3-4C76-920D-FBACAC84DFAF}" srcOrd="3" destOrd="0" parTransId="{1CB3804E-5754-421E-9AC0-49A005B1EB55}" sibTransId="{9DDFA32B-E62D-499D-A456-688A4790E5D3}"/>
    <dgm:cxn modelId="{0A619743-493D-4EE4-B4F0-E8D5DC9A8119}" srcId="{FB9E8E93-E505-4F61-B986-63526300BB1E}" destId="{92CB7DAD-CAB5-4D0B-9639-27F3E09056A1}" srcOrd="1" destOrd="0" parTransId="{6CA1768C-402D-4696-A191-6101BE052A70}" sibTransId="{9B44B2A1-444C-482C-B5DF-081283522B44}"/>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4EB11F46-7A4A-4AE4-A598-8FE4F6A30BF7}" type="presOf" srcId="{92CB7DAD-CAB5-4D0B-9639-27F3E09056A1}" destId="{F2611699-6C85-4FBF-AB47-DBD3C7959DCE}" srcOrd="0" destOrd="1" presId="urn:microsoft.com/office/officeart/2005/8/layout/list1"/>
    <dgm:cxn modelId="{4E0B036F-865D-434A-8BF8-AE78B2E3BB72}" type="presOf" srcId="{FECC6121-E28F-4BE0-AE1C-747308641080}" destId="{8EDC92CE-1AB4-4FAD-8EB9-3304E9FB1C42}" srcOrd="1" destOrd="0" presId="urn:microsoft.com/office/officeart/2005/8/layout/list1"/>
    <dgm:cxn modelId="{0DFF7885-A1AB-4C98-A3EE-698EC89CE00A}" srcId="{FECC6121-E28F-4BE0-AE1C-747308641080}" destId="{58DE9527-F41D-4BFB-9F76-D77FE1577170}" srcOrd="4" destOrd="0" parTransId="{772E7FE7-6877-4082-A69E-E332EB00FDCB}" sibTransId="{9E5568E7-AA25-4E33-B782-8E0CCE3CD8A8}"/>
    <dgm:cxn modelId="{22E95F8A-928E-44FC-A451-B57484B19CC9}" srcId="{FECC6121-E28F-4BE0-AE1C-747308641080}" destId="{6BDE6565-DA93-4269-804E-8B811DD234C9}" srcOrd="1" destOrd="0" parTransId="{9712CA9B-D579-4095-9300-A7981223BDAE}" sibTransId="{FCCFA110-CE50-49DC-BD30-6245ED4B7D1D}"/>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27048B4-F2AE-411E-BF82-923F64C4A9B5}" srcId="{5CAC6E89-8D61-41CE-B485-D446E81BC557}" destId="{FECC6121-E28F-4BE0-AE1C-747308641080}" srcOrd="1" destOrd="0" parTransId="{906B4977-F3E5-4B93-83EB-11FC5247CDFD}" sibTransId="{01681DA4-66CE-4A55-A9E2-6D4658A7195F}"/>
    <dgm:cxn modelId="{D4E422B6-CA8F-4780-9814-A494B8FCA92F}" type="presOf" srcId="{603570B6-A9B3-4503-9657-40D4D8DA2DBE}" destId="{1738A5E9-7294-453F-BC26-FB76949CBB6D}" srcOrd="0" destOrd="0" presId="urn:microsoft.com/office/officeart/2005/8/layout/list1"/>
    <dgm:cxn modelId="{7242CCCF-910E-4A07-9A9F-1A9ED421A2D8}" type="presOf" srcId="{58DE9527-F41D-4BFB-9F76-D77FE1577170}" destId="{1738A5E9-7294-453F-BC26-FB76949CBB6D}" srcOrd="0" destOrd="4" presId="urn:microsoft.com/office/officeart/2005/8/layout/list1"/>
    <dgm:cxn modelId="{B2D336D5-8EDB-4F0E-BDD9-3D0DC0F43B4D}" type="presOf" srcId="{762E3DA8-537E-4034-B770-ED9AE8FE14DB}" destId="{1738A5E9-7294-453F-BC26-FB76949CBB6D}" srcOrd="0" destOrd="6" presId="urn:microsoft.com/office/officeart/2005/8/layout/list1"/>
    <dgm:cxn modelId="{C35493D8-234C-422D-84FA-9CBD42D71B1C}" srcId="{FECC6121-E28F-4BE0-AE1C-747308641080}" destId="{762E3DA8-537E-4034-B770-ED9AE8FE14DB}" srcOrd="6" destOrd="0" parTransId="{777C9AF4-4AF3-420B-BDB0-9487EA084827}" sibTransId="{B31A1121-F0DA-4D4B-BB71-C5EBA101A1F7}"/>
    <dgm:cxn modelId="{968C0EDA-F400-4C36-8361-6138E798E5D4}" type="presOf" srcId="{6BDE6565-DA93-4269-804E-8B811DD234C9}" destId="{1738A5E9-7294-453F-BC26-FB76949CBB6D}" srcOrd="0" destOrd="1" presId="urn:microsoft.com/office/officeart/2005/8/layout/list1"/>
    <dgm:cxn modelId="{C87E2EDD-BD05-418C-AF3B-AD360AE82984}" type="presOf" srcId="{DC7A34C3-5303-4371-B5A2-DFA88E739090}" destId="{1738A5E9-7294-453F-BC26-FB76949CBB6D}" srcOrd="0" destOrd="2" presId="urn:microsoft.com/office/officeart/2005/8/layout/list1"/>
    <dgm:cxn modelId="{726B44F8-3FD1-4920-A8AE-2D9ED94627E1}" type="presOf" srcId="{191D4A74-DE33-4CA0-8E59-E7263D7EDBFF}" destId="{1738A5E9-7294-453F-BC26-FB76949CBB6D}" srcOrd="0" destOrd="5" presId="urn:microsoft.com/office/officeart/2005/8/layout/list1"/>
    <dgm:cxn modelId="{3D8184FC-8811-4F13-A9F7-E1350DD7C337}" type="presOf" srcId="{FECC6121-E28F-4BE0-AE1C-747308641080}" destId="{650EC44F-F836-4943-AC39-1C53DC90C16F}" srcOrd="0" destOrd="0" presId="urn:microsoft.com/office/officeart/2005/8/layout/list1"/>
    <dgm:cxn modelId="{1A2E3AFD-5AFE-49AA-BEFA-3FDB3B8D1CD2}" srcId="{FECC6121-E28F-4BE0-AE1C-747308641080}" destId="{DC7A34C3-5303-4371-B5A2-DFA88E739090}" srcOrd="2" destOrd="0" parTransId="{8E5D3D32-2F23-408F-BF9B-450344F2F7B2}" sibTransId="{1A06DA28-F134-4E2E-A2B6-F6BA104CEDF7}"/>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D85329F5-A0ED-447E-B9FF-F09FF432CD6D}" type="presParOf" srcId="{B902A285-C333-498D-BE6D-38566E131EA4}" destId="{60F703C6-E9B5-4E10-87DC-F22DE0392E69}" srcOrd="4" destOrd="0" presId="urn:microsoft.com/office/officeart/2005/8/layout/list1"/>
    <dgm:cxn modelId="{103FE61F-F59B-4B81-8C78-AD21807B1B9D}" type="presParOf" srcId="{60F703C6-E9B5-4E10-87DC-F22DE0392E69}" destId="{650EC44F-F836-4943-AC39-1C53DC90C16F}" srcOrd="0" destOrd="0" presId="urn:microsoft.com/office/officeart/2005/8/layout/list1"/>
    <dgm:cxn modelId="{E51A4FB5-3ECA-4FCE-A08D-BFB6F06288E2}" type="presParOf" srcId="{60F703C6-E9B5-4E10-87DC-F22DE0392E69}" destId="{8EDC92CE-1AB4-4FAD-8EB9-3304E9FB1C42}" srcOrd="1" destOrd="0" presId="urn:microsoft.com/office/officeart/2005/8/layout/list1"/>
    <dgm:cxn modelId="{2ACE633E-357C-41BE-8F0B-D778BC180406}" type="presParOf" srcId="{B902A285-C333-498D-BE6D-38566E131EA4}" destId="{F6542E23-8949-4197-AC32-5529996D8DDA}" srcOrd="5" destOrd="0" presId="urn:microsoft.com/office/officeart/2005/8/layout/list1"/>
    <dgm:cxn modelId="{C473E3CD-4F89-4E4A-8A9F-0CE7A04ED38B}" type="presParOf" srcId="{B902A285-C333-498D-BE6D-38566E131EA4}" destId="{1738A5E9-7294-453F-BC26-FB76949CBB6D}" srcOrd="6"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EE180F31-80C2-4B88-9E75-D41143A019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AA1E95-6582-4F37-B5FE-CDE53F8D2D1D}">
      <dgm:prSet phldrT="[Text]" custT="1"/>
      <dgm:spPr/>
      <dgm:t>
        <a:bodyPr/>
        <a:lstStyle/>
        <a:p>
          <a:r>
            <a:rPr lang="en-US" sz="2600" dirty="0"/>
            <a:t>New compile on Agent 4</a:t>
          </a:r>
        </a:p>
      </dgm:t>
    </dgm:pt>
    <dgm:pt modelId="{DCC93742-584B-4D0B-BEE2-50EF6DA646AA}" type="parTrans" cxnId="{471C4D88-C997-4790-BAEB-93061E0AF49D}">
      <dgm:prSet/>
      <dgm:spPr/>
      <dgm:t>
        <a:bodyPr/>
        <a:lstStyle/>
        <a:p>
          <a:endParaRPr lang="en-US"/>
        </a:p>
      </dgm:t>
    </dgm:pt>
    <dgm:pt modelId="{057CCCB5-B6D7-4F93-9780-2220EF550F89}" type="sibTrans" cxnId="{471C4D88-C997-4790-BAEB-93061E0AF49D}">
      <dgm:prSet/>
      <dgm:spPr/>
      <dgm:t>
        <a:bodyPr/>
        <a:lstStyle/>
        <a:p>
          <a:endParaRPr lang="en-US"/>
        </a:p>
      </dgm:t>
    </dgm:pt>
    <dgm:pt modelId="{F80353C7-1B76-4956-B6A7-3C3F0FCA8082}" type="pres">
      <dgm:prSet presAssocID="{EE180F31-80C2-4B88-9E75-D41143A019BA}" presName="linear" presStyleCnt="0">
        <dgm:presLayoutVars>
          <dgm:animLvl val="lvl"/>
          <dgm:resizeHandles val="exact"/>
        </dgm:presLayoutVars>
      </dgm:prSet>
      <dgm:spPr/>
    </dgm:pt>
    <dgm:pt modelId="{AF1DAC2B-1B5F-419C-B21B-B191A9A5DF1E}" type="pres">
      <dgm:prSet presAssocID="{67AA1E95-6582-4F37-B5FE-CDE53F8D2D1D}" presName="parentText" presStyleLbl="node1" presStyleIdx="0" presStyleCnt="1">
        <dgm:presLayoutVars>
          <dgm:chMax val="0"/>
          <dgm:bulletEnabled val="1"/>
        </dgm:presLayoutVars>
      </dgm:prSet>
      <dgm:spPr/>
    </dgm:pt>
  </dgm:ptLst>
  <dgm:cxnLst>
    <dgm:cxn modelId="{06C60E57-6CA9-4715-BCF3-16B1FA45ADC7}" type="presOf" srcId="{EE180F31-80C2-4B88-9E75-D41143A019BA}" destId="{F80353C7-1B76-4956-B6A7-3C3F0FCA8082}" srcOrd="0" destOrd="0" presId="urn:microsoft.com/office/officeart/2005/8/layout/vList2"/>
    <dgm:cxn modelId="{471C4D88-C997-4790-BAEB-93061E0AF49D}" srcId="{EE180F31-80C2-4B88-9E75-D41143A019BA}" destId="{67AA1E95-6582-4F37-B5FE-CDE53F8D2D1D}" srcOrd="0" destOrd="0" parTransId="{DCC93742-584B-4D0B-BEE2-50EF6DA646AA}" sibTransId="{057CCCB5-B6D7-4F93-9780-2220EF550F89}"/>
    <dgm:cxn modelId="{71580AE9-573B-45C2-AA0D-B744BC52369D}" type="presOf" srcId="{67AA1E95-6582-4F37-B5FE-CDE53F8D2D1D}" destId="{AF1DAC2B-1B5F-419C-B21B-B191A9A5DF1E}" srcOrd="0" destOrd="0" presId="urn:microsoft.com/office/officeart/2005/8/layout/vList2"/>
    <dgm:cxn modelId="{E87967AF-B5F2-4018-913D-B397044DF92E}" type="presParOf" srcId="{F80353C7-1B76-4956-B6A7-3C3F0FCA8082}" destId="{AF1DAC2B-1B5F-419C-B21B-B191A9A5DF1E}"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EE180F31-80C2-4B88-9E75-D41143A019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AA1E95-6582-4F37-B5FE-CDE53F8D2D1D}">
      <dgm:prSet phldrT="[Text]" custT="1"/>
      <dgm:spPr/>
      <dgm:t>
        <a:bodyPr/>
        <a:lstStyle/>
        <a:p>
          <a:r>
            <a:rPr lang="en-US" sz="2600" dirty="0"/>
            <a:t>Using cached plan for Agent 2</a:t>
          </a:r>
        </a:p>
      </dgm:t>
    </dgm:pt>
    <dgm:pt modelId="{DCC93742-584B-4D0B-BEE2-50EF6DA646AA}" type="parTrans" cxnId="{471C4D88-C997-4790-BAEB-93061E0AF49D}">
      <dgm:prSet/>
      <dgm:spPr/>
      <dgm:t>
        <a:bodyPr/>
        <a:lstStyle/>
        <a:p>
          <a:endParaRPr lang="en-US"/>
        </a:p>
      </dgm:t>
    </dgm:pt>
    <dgm:pt modelId="{057CCCB5-B6D7-4F93-9780-2220EF550F89}" type="sibTrans" cxnId="{471C4D88-C997-4790-BAEB-93061E0AF49D}">
      <dgm:prSet/>
      <dgm:spPr/>
      <dgm:t>
        <a:bodyPr/>
        <a:lstStyle/>
        <a:p>
          <a:endParaRPr lang="en-US"/>
        </a:p>
      </dgm:t>
    </dgm:pt>
    <dgm:pt modelId="{EB4A5334-5506-4B7F-9CA6-9470F83FD571}">
      <dgm:prSet/>
      <dgm:spPr/>
      <dgm:t>
        <a:bodyPr/>
        <a:lstStyle/>
        <a:p>
          <a:endParaRPr lang="en-US"/>
        </a:p>
      </dgm:t>
    </dgm:pt>
    <dgm:pt modelId="{64A6649B-1613-4288-83F9-8170BE393FAC}" type="parTrans" cxnId="{E852068C-9773-4801-9D09-F37E89DFFA3A}">
      <dgm:prSet/>
      <dgm:spPr/>
      <dgm:t>
        <a:bodyPr/>
        <a:lstStyle/>
        <a:p>
          <a:endParaRPr lang="en-US"/>
        </a:p>
      </dgm:t>
    </dgm:pt>
    <dgm:pt modelId="{A7D637E2-5F71-4612-82B4-29FED20FA814}" type="sibTrans" cxnId="{E852068C-9773-4801-9D09-F37E89DFFA3A}">
      <dgm:prSet/>
      <dgm:spPr/>
      <dgm:t>
        <a:bodyPr/>
        <a:lstStyle/>
        <a:p>
          <a:endParaRPr lang="en-US"/>
        </a:p>
      </dgm:t>
    </dgm:pt>
    <dgm:pt modelId="{9B454A90-B882-424A-A578-9A48B695D513}">
      <dgm:prSet/>
      <dgm:spPr/>
      <dgm:t>
        <a:bodyPr/>
        <a:lstStyle/>
        <a:p>
          <a:endParaRPr lang="en-US"/>
        </a:p>
      </dgm:t>
    </dgm:pt>
    <dgm:pt modelId="{3E57EC37-E5A1-4176-8D7B-15F5DC37FC1E}" type="parTrans" cxnId="{EC7F53AA-88B6-46A3-979D-0492BCE2E837}">
      <dgm:prSet/>
      <dgm:spPr/>
      <dgm:t>
        <a:bodyPr/>
        <a:lstStyle/>
        <a:p>
          <a:endParaRPr lang="en-US"/>
        </a:p>
      </dgm:t>
    </dgm:pt>
    <dgm:pt modelId="{D8C9C528-12B1-44E3-BC78-E3E2E59C4115}" type="sibTrans" cxnId="{EC7F53AA-88B6-46A3-979D-0492BCE2E837}">
      <dgm:prSet/>
      <dgm:spPr/>
      <dgm:t>
        <a:bodyPr/>
        <a:lstStyle/>
        <a:p>
          <a:endParaRPr lang="en-US"/>
        </a:p>
      </dgm:t>
    </dgm:pt>
    <dgm:pt modelId="{E7022AD2-0E6D-4793-BF08-F057CFA56CC4}">
      <dgm:prSet/>
      <dgm:spPr/>
      <dgm:t>
        <a:bodyPr/>
        <a:lstStyle/>
        <a:p>
          <a:endParaRPr lang="en-US"/>
        </a:p>
      </dgm:t>
    </dgm:pt>
    <dgm:pt modelId="{2CA1888C-4373-4E38-868B-7DF936413835}" type="parTrans" cxnId="{1DE023AF-2B31-4EF2-9002-CDDCE50EC9A2}">
      <dgm:prSet/>
      <dgm:spPr/>
      <dgm:t>
        <a:bodyPr/>
        <a:lstStyle/>
        <a:p>
          <a:endParaRPr lang="en-US"/>
        </a:p>
      </dgm:t>
    </dgm:pt>
    <dgm:pt modelId="{CAA8F7B9-677D-4FE0-9D35-82379AC1C730}" type="sibTrans" cxnId="{1DE023AF-2B31-4EF2-9002-CDDCE50EC9A2}">
      <dgm:prSet/>
      <dgm:spPr/>
      <dgm:t>
        <a:bodyPr/>
        <a:lstStyle/>
        <a:p>
          <a:endParaRPr lang="en-US"/>
        </a:p>
      </dgm:t>
    </dgm:pt>
    <dgm:pt modelId="{EF906969-D87B-468D-987A-98057FDCE749}">
      <dgm:prSet/>
      <dgm:spPr/>
      <dgm:t>
        <a:bodyPr/>
        <a:lstStyle/>
        <a:p>
          <a:endParaRPr lang="en-US"/>
        </a:p>
      </dgm:t>
    </dgm:pt>
    <dgm:pt modelId="{22C20C92-F849-42AE-9B86-F7F8DFBAF29F}" type="parTrans" cxnId="{F40ABDC0-B483-4153-BFFE-5C69E398257F}">
      <dgm:prSet/>
      <dgm:spPr/>
      <dgm:t>
        <a:bodyPr/>
        <a:lstStyle/>
        <a:p>
          <a:endParaRPr lang="en-US"/>
        </a:p>
      </dgm:t>
    </dgm:pt>
    <dgm:pt modelId="{00F75D0B-5600-4296-A0CF-17AACE49956E}" type="sibTrans" cxnId="{F40ABDC0-B483-4153-BFFE-5C69E398257F}">
      <dgm:prSet/>
      <dgm:spPr/>
      <dgm:t>
        <a:bodyPr/>
        <a:lstStyle/>
        <a:p>
          <a:endParaRPr lang="en-US"/>
        </a:p>
      </dgm:t>
    </dgm:pt>
    <dgm:pt modelId="{20C29313-04B8-4EBF-835D-4942DC426F82}">
      <dgm:prSet/>
      <dgm:spPr/>
      <dgm:t>
        <a:bodyPr/>
        <a:lstStyle/>
        <a:p>
          <a:endParaRPr lang="en-US"/>
        </a:p>
      </dgm:t>
    </dgm:pt>
    <dgm:pt modelId="{E31B5800-3F2F-4050-8ADA-20FF889FBE05}" type="parTrans" cxnId="{2BCC5F69-9083-4A70-8C4D-16116B14F998}">
      <dgm:prSet/>
      <dgm:spPr/>
      <dgm:t>
        <a:bodyPr/>
        <a:lstStyle/>
        <a:p>
          <a:endParaRPr lang="en-US"/>
        </a:p>
      </dgm:t>
    </dgm:pt>
    <dgm:pt modelId="{7AA185E1-4B6A-46DB-9BEC-142C0B0F782D}" type="sibTrans" cxnId="{2BCC5F69-9083-4A70-8C4D-16116B14F998}">
      <dgm:prSet/>
      <dgm:spPr/>
      <dgm:t>
        <a:bodyPr/>
        <a:lstStyle/>
        <a:p>
          <a:endParaRPr lang="en-US"/>
        </a:p>
      </dgm:t>
    </dgm:pt>
    <dgm:pt modelId="{9EA88F44-4947-4E8F-B589-90F861B811B0}">
      <dgm:prSet/>
      <dgm:spPr/>
      <dgm:t>
        <a:bodyPr/>
        <a:lstStyle/>
        <a:p>
          <a:endParaRPr lang="en-US"/>
        </a:p>
      </dgm:t>
    </dgm:pt>
    <dgm:pt modelId="{5C772DE6-72EC-461F-A0BE-FA5E5512724E}" type="parTrans" cxnId="{6C2E73E6-C1F3-4A23-91EB-01B57ACFBB29}">
      <dgm:prSet/>
      <dgm:spPr/>
      <dgm:t>
        <a:bodyPr/>
        <a:lstStyle/>
        <a:p>
          <a:endParaRPr lang="en-US"/>
        </a:p>
      </dgm:t>
    </dgm:pt>
    <dgm:pt modelId="{A1A10A47-099E-4492-9741-E5819482C3E3}" type="sibTrans" cxnId="{6C2E73E6-C1F3-4A23-91EB-01B57ACFBB29}">
      <dgm:prSet/>
      <dgm:spPr/>
      <dgm:t>
        <a:bodyPr/>
        <a:lstStyle/>
        <a:p>
          <a:endParaRPr lang="en-US"/>
        </a:p>
      </dgm:t>
    </dgm:pt>
    <dgm:pt modelId="{43DEB28E-2EBB-43EC-BD2C-FA8EAA94D0A0}">
      <dgm:prSet phldrT="[Text]" custT="1"/>
      <dgm:spPr/>
      <dgm:t>
        <a:bodyPr/>
        <a:lstStyle/>
        <a:p>
          <a:r>
            <a:rPr lang="en-US" sz="2600"/>
            <a:t>New compile on Agent 2</a:t>
          </a:r>
        </a:p>
      </dgm:t>
    </dgm:pt>
    <dgm:pt modelId="{7B7C3C83-5EAF-42E0-BC5D-07DE9631425F}" type="parTrans" cxnId="{FA9DF127-D262-49DB-A4EF-713A4297E350}">
      <dgm:prSet/>
      <dgm:spPr/>
      <dgm:t>
        <a:bodyPr/>
        <a:lstStyle/>
        <a:p>
          <a:endParaRPr lang="en-US"/>
        </a:p>
      </dgm:t>
    </dgm:pt>
    <dgm:pt modelId="{4F4C74A7-EC50-435E-9D44-7438E88F833F}" type="sibTrans" cxnId="{FA9DF127-D262-49DB-A4EF-713A4297E350}">
      <dgm:prSet/>
      <dgm:spPr/>
      <dgm:t>
        <a:bodyPr/>
        <a:lstStyle/>
        <a:p>
          <a:endParaRPr lang="en-US"/>
        </a:p>
      </dgm:t>
    </dgm:pt>
    <dgm:pt modelId="{F774B914-59A9-47A2-8DD9-083BA4D710B4}">
      <dgm:prSet phldrT="[Text]" custT="1"/>
      <dgm:spPr/>
      <dgm:t>
        <a:bodyPr/>
        <a:lstStyle/>
        <a:p>
          <a:endParaRPr lang="en-US" sz="2600"/>
        </a:p>
      </dgm:t>
    </dgm:pt>
    <dgm:pt modelId="{A32610DC-952E-409D-A571-FDFB7BE0F3F3}" type="parTrans" cxnId="{A4231F67-1487-4B62-9328-CD1150CC0584}">
      <dgm:prSet/>
      <dgm:spPr/>
      <dgm:t>
        <a:bodyPr/>
        <a:lstStyle/>
        <a:p>
          <a:endParaRPr lang="en-US"/>
        </a:p>
      </dgm:t>
    </dgm:pt>
    <dgm:pt modelId="{6F2139EB-006D-4BE2-8E8D-FCE07AD4C39E}" type="sibTrans" cxnId="{A4231F67-1487-4B62-9328-CD1150CC0584}">
      <dgm:prSet/>
      <dgm:spPr/>
      <dgm:t>
        <a:bodyPr/>
        <a:lstStyle/>
        <a:p>
          <a:endParaRPr lang="en-US"/>
        </a:p>
      </dgm:t>
    </dgm:pt>
    <dgm:pt modelId="{0B34D168-9AE2-4134-B4C5-ECE24911E063}">
      <dgm:prSet/>
      <dgm:spPr/>
      <dgm:t>
        <a:bodyPr/>
        <a:lstStyle/>
        <a:p>
          <a:endParaRPr lang="en-US"/>
        </a:p>
      </dgm:t>
    </dgm:pt>
    <dgm:pt modelId="{1AE87B0E-6476-477A-9CFB-7BBA2BAA3B09}" type="parTrans" cxnId="{C92CA712-51E5-45A1-B23C-880736EF5543}">
      <dgm:prSet/>
      <dgm:spPr/>
      <dgm:t>
        <a:bodyPr/>
        <a:lstStyle/>
        <a:p>
          <a:endParaRPr lang="en-US"/>
        </a:p>
      </dgm:t>
    </dgm:pt>
    <dgm:pt modelId="{7297C5A2-EDAC-4C44-AA50-1CE2F5C51E32}" type="sibTrans" cxnId="{C92CA712-51E5-45A1-B23C-880736EF5543}">
      <dgm:prSet/>
      <dgm:spPr/>
      <dgm:t>
        <a:bodyPr/>
        <a:lstStyle/>
        <a:p>
          <a:endParaRPr lang="en-US"/>
        </a:p>
      </dgm:t>
    </dgm:pt>
    <dgm:pt modelId="{EEF182F2-4939-4CAF-AF47-F7D15AC08F35}">
      <dgm:prSet/>
      <dgm:spPr/>
      <dgm:t>
        <a:bodyPr/>
        <a:lstStyle/>
        <a:p>
          <a:endParaRPr lang="en-US" dirty="0"/>
        </a:p>
      </dgm:t>
    </dgm:pt>
    <dgm:pt modelId="{98C2FB40-D040-4839-82B0-7799DBFDC3D2}" type="parTrans" cxnId="{24C54C2F-9044-4CFB-8BFC-00C5A06442EF}">
      <dgm:prSet/>
      <dgm:spPr/>
      <dgm:t>
        <a:bodyPr/>
        <a:lstStyle/>
        <a:p>
          <a:endParaRPr lang="en-US"/>
        </a:p>
      </dgm:t>
    </dgm:pt>
    <dgm:pt modelId="{64A20EA8-DAB1-4CB1-9EE0-A9A40ECE72DE}" type="sibTrans" cxnId="{24C54C2F-9044-4CFB-8BFC-00C5A06442EF}">
      <dgm:prSet/>
      <dgm:spPr/>
      <dgm:t>
        <a:bodyPr/>
        <a:lstStyle/>
        <a:p>
          <a:endParaRPr lang="en-US"/>
        </a:p>
      </dgm:t>
    </dgm:pt>
    <dgm:pt modelId="{E9BCE17C-D59A-4E7E-A0C9-B5BF8A379B2A}">
      <dgm:prSet/>
      <dgm:spPr/>
      <dgm:t>
        <a:bodyPr/>
        <a:lstStyle/>
        <a:p>
          <a:endParaRPr lang="en-US" dirty="0"/>
        </a:p>
      </dgm:t>
    </dgm:pt>
    <dgm:pt modelId="{C01F63C1-8E20-4ECC-9EA1-243F7D15BF4E}" type="parTrans" cxnId="{9C12ED9B-FB50-414D-B5F0-71D5223A2E1C}">
      <dgm:prSet/>
      <dgm:spPr/>
      <dgm:t>
        <a:bodyPr/>
        <a:lstStyle/>
        <a:p>
          <a:endParaRPr lang="en-US"/>
        </a:p>
      </dgm:t>
    </dgm:pt>
    <dgm:pt modelId="{8AADDD80-90DD-4F34-BAA3-831248D633A7}" type="sibTrans" cxnId="{9C12ED9B-FB50-414D-B5F0-71D5223A2E1C}">
      <dgm:prSet/>
      <dgm:spPr/>
      <dgm:t>
        <a:bodyPr/>
        <a:lstStyle/>
        <a:p>
          <a:endParaRPr lang="en-US"/>
        </a:p>
      </dgm:t>
    </dgm:pt>
    <dgm:pt modelId="{F80353C7-1B76-4956-B6A7-3C3F0FCA8082}" type="pres">
      <dgm:prSet presAssocID="{EE180F31-80C2-4B88-9E75-D41143A019BA}" presName="linear" presStyleCnt="0">
        <dgm:presLayoutVars>
          <dgm:animLvl val="lvl"/>
          <dgm:resizeHandles val="exact"/>
        </dgm:presLayoutVars>
      </dgm:prSet>
      <dgm:spPr/>
    </dgm:pt>
    <dgm:pt modelId="{AF1DAC2B-1B5F-419C-B21B-B191A9A5DF1E}" type="pres">
      <dgm:prSet presAssocID="{67AA1E95-6582-4F37-B5FE-CDE53F8D2D1D}" presName="parentText" presStyleLbl="node1" presStyleIdx="0" presStyleCnt="2">
        <dgm:presLayoutVars>
          <dgm:chMax val="0"/>
          <dgm:bulletEnabled val="1"/>
        </dgm:presLayoutVars>
      </dgm:prSet>
      <dgm:spPr/>
    </dgm:pt>
    <dgm:pt modelId="{331960B4-C2BC-4CB4-8FFE-DB5A045E898F}" type="pres">
      <dgm:prSet presAssocID="{67AA1E95-6582-4F37-B5FE-CDE53F8D2D1D}" presName="childText" presStyleLbl="revTx" presStyleIdx="0" presStyleCnt="2">
        <dgm:presLayoutVars>
          <dgm:bulletEnabled val="1"/>
        </dgm:presLayoutVars>
      </dgm:prSet>
      <dgm:spPr/>
    </dgm:pt>
    <dgm:pt modelId="{EF9B14C4-04CC-45B4-A113-01A06A82DD1F}" type="pres">
      <dgm:prSet presAssocID="{43DEB28E-2EBB-43EC-BD2C-FA8EAA94D0A0}" presName="parentText" presStyleLbl="node1" presStyleIdx="1" presStyleCnt="2" custLinFactNeighborY="-8514">
        <dgm:presLayoutVars>
          <dgm:chMax val="0"/>
          <dgm:bulletEnabled val="1"/>
        </dgm:presLayoutVars>
      </dgm:prSet>
      <dgm:spPr/>
    </dgm:pt>
    <dgm:pt modelId="{7C7D43BF-BF08-4B67-88D1-BF383F851CE0}" type="pres">
      <dgm:prSet presAssocID="{43DEB28E-2EBB-43EC-BD2C-FA8EAA94D0A0}" presName="childText" presStyleLbl="revTx" presStyleIdx="1" presStyleCnt="2">
        <dgm:presLayoutVars>
          <dgm:bulletEnabled val="1"/>
        </dgm:presLayoutVars>
      </dgm:prSet>
      <dgm:spPr/>
    </dgm:pt>
  </dgm:ptLst>
  <dgm:cxnLst>
    <dgm:cxn modelId="{33884503-DA9A-478B-A242-F574F7E87E07}" type="presOf" srcId="{43DEB28E-2EBB-43EC-BD2C-FA8EAA94D0A0}" destId="{EF9B14C4-04CC-45B4-A113-01A06A82DD1F}" srcOrd="0" destOrd="0" presId="urn:microsoft.com/office/officeart/2005/8/layout/vList2"/>
    <dgm:cxn modelId="{3A818205-E81D-4FE0-88AB-BA1189A66D34}" type="presOf" srcId="{E9BCE17C-D59A-4E7E-A0C9-B5BF8A379B2A}" destId="{331960B4-C2BC-4CB4-8FFE-DB5A045E898F}" srcOrd="0" destOrd="3" presId="urn:microsoft.com/office/officeart/2005/8/layout/vList2"/>
    <dgm:cxn modelId="{C92CA712-51E5-45A1-B23C-880736EF5543}" srcId="{67AA1E95-6582-4F37-B5FE-CDE53F8D2D1D}" destId="{0B34D168-9AE2-4134-B4C5-ECE24911E063}" srcOrd="1" destOrd="0" parTransId="{1AE87B0E-6476-477A-9CFB-7BBA2BAA3B09}" sibTransId="{7297C5A2-EDAC-4C44-AA50-1CE2F5C51E32}"/>
    <dgm:cxn modelId="{BA283E18-45C1-4C60-8137-BED0BD37C84E}" type="presOf" srcId="{67AA1E95-6582-4F37-B5FE-CDE53F8D2D1D}" destId="{AF1DAC2B-1B5F-419C-B21B-B191A9A5DF1E}" srcOrd="0" destOrd="0" presId="urn:microsoft.com/office/officeart/2005/8/layout/vList2"/>
    <dgm:cxn modelId="{FA9DF127-D262-49DB-A4EF-713A4297E350}" srcId="{EE180F31-80C2-4B88-9E75-D41143A019BA}" destId="{43DEB28E-2EBB-43EC-BD2C-FA8EAA94D0A0}" srcOrd="1" destOrd="0" parTransId="{7B7C3C83-5EAF-42E0-BC5D-07DE9631425F}" sibTransId="{4F4C74A7-EC50-435E-9D44-7438E88F833F}"/>
    <dgm:cxn modelId="{B539E22A-824E-47F6-9075-20A48D1E266C}" type="presOf" srcId="{9EA88F44-4947-4E8F-B589-90F861B811B0}" destId="{7C7D43BF-BF08-4B67-88D1-BF383F851CE0}" srcOrd="0" destOrd="5" presId="urn:microsoft.com/office/officeart/2005/8/layout/vList2"/>
    <dgm:cxn modelId="{24C54C2F-9044-4CFB-8BFC-00C5A06442EF}" srcId="{67AA1E95-6582-4F37-B5FE-CDE53F8D2D1D}" destId="{EEF182F2-4939-4CAF-AF47-F7D15AC08F35}" srcOrd="2" destOrd="0" parTransId="{98C2FB40-D040-4839-82B0-7799DBFDC3D2}" sibTransId="{64A20EA8-DAB1-4CB1-9EE0-A9A40ECE72DE}"/>
    <dgm:cxn modelId="{06B68F3B-1CBF-487B-81E3-8ABA0C26DBCA}" type="presOf" srcId="{EF906969-D87B-468D-987A-98057FDCE749}" destId="{7C7D43BF-BF08-4B67-88D1-BF383F851CE0}" srcOrd="0" destOrd="3" presId="urn:microsoft.com/office/officeart/2005/8/layout/vList2"/>
    <dgm:cxn modelId="{A4231F67-1487-4B62-9328-CD1150CC0584}" srcId="{67AA1E95-6582-4F37-B5FE-CDE53F8D2D1D}" destId="{F774B914-59A9-47A2-8DD9-083BA4D710B4}" srcOrd="0" destOrd="0" parTransId="{A32610DC-952E-409D-A571-FDFB7BE0F3F3}" sibTransId="{6F2139EB-006D-4BE2-8E8D-FCE07AD4C39E}"/>
    <dgm:cxn modelId="{2BCC5F69-9083-4A70-8C4D-16116B14F998}" srcId="{43DEB28E-2EBB-43EC-BD2C-FA8EAA94D0A0}" destId="{20C29313-04B8-4EBF-835D-4942DC426F82}" srcOrd="4" destOrd="0" parTransId="{E31B5800-3F2F-4050-8ADA-20FF889FBE05}" sibTransId="{7AA185E1-4B6A-46DB-9BEC-142C0B0F782D}"/>
    <dgm:cxn modelId="{06C60E57-6CA9-4715-BCF3-16B1FA45ADC7}" type="presOf" srcId="{EE180F31-80C2-4B88-9E75-D41143A019BA}" destId="{F80353C7-1B76-4956-B6A7-3C3F0FCA8082}" srcOrd="0" destOrd="0" presId="urn:microsoft.com/office/officeart/2005/8/layout/vList2"/>
    <dgm:cxn modelId="{C0C51D88-DBC7-4775-8491-69E67D0FB1F6}" type="presOf" srcId="{9B454A90-B882-424A-A578-9A48B695D513}" destId="{7C7D43BF-BF08-4B67-88D1-BF383F851CE0}" srcOrd="0" destOrd="1" presId="urn:microsoft.com/office/officeart/2005/8/layout/vList2"/>
    <dgm:cxn modelId="{471C4D88-C997-4790-BAEB-93061E0AF49D}" srcId="{EE180F31-80C2-4B88-9E75-D41143A019BA}" destId="{67AA1E95-6582-4F37-B5FE-CDE53F8D2D1D}" srcOrd="0" destOrd="0" parTransId="{DCC93742-584B-4D0B-BEE2-50EF6DA646AA}" sibTransId="{057CCCB5-B6D7-4F93-9780-2220EF550F89}"/>
    <dgm:cxn modelId="{E852068C-9773-4801-9D09-F37E89DFFA3A}" srcId="{43DEB28E-2EBB-43EC-BD2C-FA8EAA94D0A0}" destId="{EB4A5334-5506-4B7F-9CA6-9470F83FD571}" srcOrd="0" destOrd="0" parTransId="{64A6649B-1613-4288-83F9-8170BE393FAC}" sibTransId="{A7D637E2-5F71-4612-82B4-29FED20FA814}"/>
    <dgm:cxn modelId="{9C12ED9B-FB50-414D-B5F0-71D5223A2E1C}" srcId="{67AA1E95-6582-4F37-B5FE-CDE53F8D2D1D}" destId="{E9BCE17C-D59A-4E7E-A0C9-B5BF8A379B2A}" srcOrd="3" destOrd="0" parTransId="{C01F63C1-8E20-4ECC-9EA1-243F7D15BF4E}" sibTransId="{8AADDD80-90DD-4F34-BAA3-831248D633A7}"/>
    <dgm:cxn modelId="{33514C9F-00DB-462F-B9F2-48A3BEE9FF0C}" type="presOf" srcId="{EEF182F2-4939-4CAF-AF47-F7D15AC08F35}" destId="{331960B4-C2BC-4CB4-8FFE-DB5A045E898F}" srcOrd="0" destOrd="2" presId="urn:microsoft.com/office/officeart/2005/8/layout/vList2"/>
    <dgm:cxn modelId="{EC7F53AA-88B6-46A3-979D-0492BCE2E837}" srcId="{43DEB28E-2EBB-43EC-BD2C-FA8EAA94D0A0}" destId="{9B454A90-B882-424A-A578-9A48B695D513}" srcOrd="1" destOrd="0" parTransId="{3E57EC37-E5A1-4176-8D7B-15F5DC37FC1E}" sibTransId="{D8C9C528-12B1-44E3-BC78-E3E2E59C4115}"/>
    <dgm:cxn modelId="{1DE023AF-2B31-4EF2-9002-CDDCE50EC9A2}" srcId="{43DEB28E-2EBB-43EC-BD2C-FA8EAA94D0A0}" destId="{E7022AD2-0E6D-4793-BF08-F057CFA56CC4}" srcOrd="2" destOrd="0" parTransId="{2CA1888C-4373-4E38-868B-7DF936413835}" sibTransId="{CAA8F7B9-677D-4FE0-9D35-82379AC1C730}"/>
    <dgm:cxn modelId="{D7EF7ABD-3E2B-4988-8E50-F6C1137C4D76}" type="presOf" srcId="{F774B914-59A9-47A2-8DD9-083BA4D710B4}" destId="{331960B4-C2BC-4CB4-8FFE-DB5A045E898F}" srcOrd="0" destOrd="0" presId="urn:microsoft.com/office/officeart/2005/8/layout/vList2"/>
    <dgm:cxn modelId="{F40ABDC0-B483-4153-BFFE-5C69E398257F}" srcId="{43DEB28E-2EBB-43EC-BD2C-FA8EAA94D0A0}" destId="{EF906969-D87B-468D-987A-98057FDCE749}" srcOrd="3" destOrd="0" parTransId="{22C20C92-F849-42AE-9B86-F7F8DFBAF29F}" sibTransId="{00F75D0B-5600-4296-A0CF-17AACE49956E}"/>
    <dgm:cxn modelId="{F73B30C4-46CA-44FF-AFCD-7A95DB213B54}" type="presOf" srcId="{E7022AD2-0E6D-4793-BF08-F057CFA56CC4}" destId="{7C7D43BF-BF08-4B67-88D1-BF383F851CE0}" srcOrd="0" destOrd="2" presId="urn:microsoft.com/office/officeart/2005/8/layout/vList2"/>
    <dgm:cxn modelId="{A55EBCD3-8CDE-42A3-BE38-FC77CB73ACF2}" type="presOf" srcId="{EB4A5334-5506-4B7F-9CA6-9470F83FD571}" destId="{7C7D43BF-BF08-4B67-88D1-BF383F851CE0}" srcOrd="0" destOrd="0" presId="urn:microsoft.com/office/officeart/2005/8/layout/vList2"/>
    <dgm:cxn modelId="{6C2E73E6-C1F3-4A23-91EB-01B57ACFBB29}" srcId="{43DEB28E-2EBB-43EC-BD2C-FA8EAA94D0A0}" destId="{9EA88F44-4947-4E8F-B589-90F861B811B0}" srcOrd="5" destOrd="0" parTransId="{5C772DE6-72EC-461F-A0BE-FA5E5512724E}" sibTransId="{A1A10A47-099E-4492-9741-E5819482C3E3}"/>
    <dgm:cxn modelId="{1C52A5F5-9563-4C3A-ADAA-1789AB4087D4}" type="presOf" srcId="{0B34D168-9AE2-4134-B4C5-ECE24911E063}" destId="{331960B4-C2BC-4CB4-8FFE-DB5A045E898F}" srcOrd="0" destOrd="1" presId="urn:microsoft.com/office/officeart/2005/8/layout/vList2"/>
    <dgm:cxn modelId="{A2C8E6FD-BCFF-468D-B94F-3D6D00536722}" type="presOf" srcId="{20C29313-04B8-4EBF-835D-4942DC426F82}" destId="{7C7D43BF-BF08-4B67-88D1-BF383F851CE0}" srcOrd="0" destOrd="4" presId="urn:microsoft.com/office/officeart/2005/8/layout/vList2"/>
    <dgm:cxn modelId="{F936BCA7-B152-405A-B690-E6664737DD04}" type="presParOf" srcId="{F80353C7-1B76-4956-B6A7-3C3F0FCA8082}" destId="{AF1DAC2B-1B5F-419C-B21B-B191A9A5DF1E}" srcOrd="0" destOrd="0" presId="urn:microsoft.com/office/officeart/2005/8/layout/vList2"/>
    <dgm:cxn modelId="{FBE33E0A-52E3-4DC9-8AF8-C6F686F1ED4C}" type="presParOf" srcId="{F80353C7-1B76-4956-B6A7-3C3F0FCA8082}" destId="{331960B4-C2BC-4CB4-8FFE-DB5A045E898F}" srcOrd="1" destOrd="0" presId="urn:microsoft.com/office/officeart/2005/8/layout/vList2"/>
    <dgm:cxn modelId="{D4274D04-4DBF-4FCC-AC70-6D304EE4C80F}" type="presParOf" srcId="{F80353C7-1B76-4956-B6A7-3C3F0FCA8082}" destId="{EF9B14C4-04CC-45B4-A113-01A06A82DD1F}" srcOrd="2" destOrd="0" presId="urn:microsoft.com/office/officeart/2005/8/layout/vList2"/>
    <dgm:cxn modelId="{9355C0A0-B6A0-4609-90B6-E6B1A630F086}" type="presParOf" srcId="{F80353C7-1B76-4956-B6A7-3C3F0FCA8082}" destId="{7C7D43BF-BF08-4B67-88D1-BF383F851CE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22CEDA83-D5A0-48DB-8163-E40BFC900E3A}">
      <dgm:prSet/>
      <dgm:spPr/>
      <dgm:t>
        <a:bodyPr/>
        <a:lstStyle/>
        <a:p>
          <a:r>
            <a:rPr lang="en-US" dirty="0"/>
            <a:t>Too many plans generated could create cache bloat, so limit # of plans in cache</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4E045BB2-63F7-4DA4-88B4-A8C927B884A3}">
      <dgm:prSet/>
      <dgm:spPr/>
      <dgm:t>
        <a:bodyPr/>
        <a:lstStyle/>
        <a:p>
          <a:r>
            <a:rPr lang="en-US" dirty="0"/>
            <a:t>Automatically enables </a:t>
          </a:r>
          <a:r>
            <a:rPr lang="en-US" u="none" dirty="0"/>
            <a:t>multiple, active </a:t>
          </a:r>
          <a:r>
            <a:rPr lang="en-US" dirty="0"/>
            <a:t>cached plans for a single parameterized statement</a:t>
          </a:r>
        </a:p>
      </dgm:t>
    </dgm:pt>
    <dgm:pt modelId="{129C0E1A-0AE7-41B1-A837-DC59CD4AF189}" type="parTrans" cxnId="{F97D9C96-F0EB-4244-9AF6-16645DA9715D}">
      <dgm:prSet/>
      <dgm:spPr/>
      <dgm:t>
        <a:bodyPr/>
        <a:lstStyle/>
        <a:p>
          <a:endParaRPr lang="en-US"/>
        </a:p>
      </dgm:t>
    </dgm:pt>
    <dgm:pt modelId="{B30E668D-F2B1-4184-B260-F1D6EE3B2B96}" type="sibTrans" cxnId="{F97D9C96-F0EB-4244-9AF6-16645DA9715D}">
      <dgm:prSet/>
      <dgm:spPr/>
      <dgm:t>
        <a:bodyPr/>
        <a:lstStyle/>
        <a:p>
          <a:endParaRPr lang="en-US"/>
        </a:p>
      </dgm:t>
    </dgm:pt>
    <dgm:pt modelId="{45F22626-D450-421C-A612-BA0F097ADBB1}">
      <dgm:prSet/>
      <dgm:spPr/>
      <dgm:t>
        <a:bodyPr/>
        <a:lstStyle/>
        <a:p>
          <a:r>
            <a:rPr lang="en-US" dirty="0"/>
            <a:t>Cached execution plans will accommodate different data sizes based on the customer-provided runtime parameter value(s)</a:t>
          </a:r>
        </a:p>
      </dgm:t>
    </dgm:pt>
    <dgm:pt modelId="{F90B12C8-D7C3-4413-900E-D1FD6CEBE301}" type="parTrans" cxnId="{43464EAA-0564-4781-B7D6-8BFF430F5D57}">
      <dgm:prSet/>
      <dgm:spPr/>
      <dgm:t>
        <a:bodyPr/>
        <a:lstStyle/>
        <a:p>
          <a:endParaRPr lang="en-US"/>
        </a:p>
      </dgm:t>
    </dgm:pt>
    <dgm:pt modelId="{18681B9E-B438-47C6-942B-C78E8AE2FEB5}" type="sibTrans" cxnId="{43464EAA-0564-4781-B7D6-8BFF430F5D57}">
      <dgm:prSet/>
      <dgm:spPr/>
      <dgm:t>
        <a:bodyPr/>
        <a:lstStyle/>
        <a:p>
          <a:endParaRPr lang="en-US"/>
        </a:p>
      </dgm:t>
    </dgm:pt>
    <dgm:pt modelId="{ACAAE0B2-0937-44FB-B5FE-AC045288E04A}">
      <dgm:prSet/>
      <dgm:spPr/>
      <dgm:t>
        <a:bodyPr/>
        <a:lstStyle/>
        <a:p>
          <a:pPr>
            <a:buNone/>
          </a:pPr>
          <a:r>
            <a:rPr lang="en-US" dirty="0"/>
            <a:t>Design considerations</a:t>
          </a:r>
        </a:p>
      </dgm:t>
    </dgm:pt>
    <dgm:pt modelId="{6411EE85-D37B-4436-8480-87B3766C20F3}" type="parTrans" cxnId="{217E1EBD-8479-439E-8DEB-D7CFB5A7895E}">
      <dgm:prSet/>
      <dgm:spPr/>
      <dgm:t>
        <a:bodyPr/>
        <a:lstStyle/>
        <a:p>
          <a:endParaRPr lang="en-US"/>
        </a:p>
      </dgm:t>
    </dgm:pt>
    <dgm:pt modelId="{1DD20117-8A2D-4729-AC22-39B059DF0BEE}" type="sibTrans" cxnId="{217E1EBD-8479-439E-8DEB-D7CFB5A7895E}">
      <dgm:prSet/>
      <dgm:spPr/>
      <dgm:t>
        <a:bodyPr/>
        <a:lstStyle/>
        <a:p>
          <a:endParaRPr lang="en-US"/>
        </a:p>
      </dgm:t>
    </dgm:pt>
    <dgm:pt modelId="{4698D926-E9FC-473E-A199-116788C3DAD5}">
      <dgm:prSet/>
      <dgm:spPr/>
      <dgm:t>
        <a:bodyPr/>
        <a:lstStyle/>
        <a:p>
          <a:r>
            <a:rPr lang="en-US"/>
            <a:t>Overhead of PSP optimization must not outweigh downstream benefit</a:t>
          </a:r>
          <a:endParaRPr lang="en-US" dirty="0"/>
        </a:p>
      </dgm:t>
    </dgm:pt>
    <dgm:pt modelId="{8118A63B-FCA9-462A-A61B-1C76B454E7E4}" type="parTrans" cxnId="{D338C2D1-E535-47F4-BD37-041624F8E7CF}">
      <dgm:prSet/>
      <dgm:spPr/>
      <dgm:t>
        <a:bodyPr/>
        <a:lstStyle/>
        <a:p>
          <a:endParaRPr lang="en-US"/>
        </a:p>
      </dgm:t>
    </dgm:pt>
    <dgm:pt modelId="{97D15FA7-2993-435D-B218-1D0DB1E1821A}" type="sibTrans" cxnId="{D338C2D1-E535-47F4-BD37-041624F8E7CF}">
      <dgm:prSet/>
      <dgm:spPr/>
      <dgm:t>
        <a:bodyPr/>
        <a:lstStyle/>
        <a:p>
          <a:endParaRPr lang="en-US"/>
        </a:p>
      </dgm:t>
    </dgm:pt>
    <dgm:pt modelId="{6E8A5037-9B71-4A75-8A9B-617673E9E56E}">
      <dgm:prSet/>
      <dgm:spPr/>
      <dgm:t>
        <a:bodyPr/>
        <a:lstStyle/>
        <a:p>
          <a:r>
            <a:rPr lang="en-US"/>
            <a:t>Compatible with Query Store plan forcing</a:t>
          </a:r>
          <a:endParaRPr lang="en-US" dirty="0"/>
        </a:p>
      </dgm:t>
    </dgm:pt>
    <dgm:pt modelId="{85B385CF-F739-4791-9C26-9381F1E153A9}" type="parTrans" cxnId="{A6A93FD3-A4AB-42BF-9F8C-DAF998B48B2C}">
      <dgm:prSet/>
      <dgm:spPr/>
      <dgm:t>
        <a:bodyPr/>
        <a:lstStyle/>
        <a:p>
          <a:endParaRPr lang="en-US"/>
        </a:p>
      </dgm:t>
    </dgm:pt>
    <dgm:pt modelId="{0889D297-3370-4C46-8EBF-0F17AFDB9037}" type="sibTrans" cxnId="{A6A93FD3-A4AB-42BF-9F8C-DAF998B48B2C}">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364C633-99A8-442F-AB7B-98CC9B35593A}" type="pres">
      <dgm:prSet presAssocID="{4E045BB2-63F7-4DA4-88B4-A8C927B884A3}" presName="parentText" presStyleLbl="node1" presStyleIdx="0" presStyleCnt="3">
        <dgm:presLayoutVars>
          <dgm:chMax val="0"/>
          <dgm:bulletEnabled val="1"/>
        </dgm:presLayoutVars>
      </dgm:prSet>
      <dgm:spPr/>
    </dgm:pt>
    <dgm:pt modelId="{F9EDBD90-9011-4E62-9E36-F388ABABDF42}" type="pres">
      <dgm:prSet presAssocID="{B30E668D-F2B1-4184-B260-F1D6EE3B2B96}" presName="spacer" presStyleCnt="0"/>
      <dgm:spPr/>
    </dgm:pt>
    <dgm:pt modelId="{709EF244-9908-42D8-B846-1F5AE2BBD0F8}" type="pres">
      <dgm:prSet presAssocID="{45F22626-D450-421C-A612-BA0F097ADBB1}" presName="parentText" presStyleLbl="node1" presStyleIdx="1" presStyleCnt="3">
        <dgm:presLayoutVars>
          <dgm:chMax val="0"/>
          <dgm:bulletEnabled val="1"/>
        </dgm:presLayoutVars>
      </dgm:prSet>
      <dgm:spPr/>
    </dgm:pt>
    <dgm:pt modelId="{F40828B5-81DB-46E2-8DB9-E67358A03CCD}" type="pres">
      <dgm:prSet presAssocID="{18681B9E-B438-47C6-942B-C78E8AE2FEB5}" presName="spacer" presStyleCnt="0"/>
      <dgm:spPr/>
    </dgm:pt>
    <dgm:pt modelId="{BD69AF70-FDD3-4F65-B044-186A952BCA3E}" type="pres">
      <dgm:prSet presAssocID="{ACAAE0B2-0937-44FB-B5FE-AC045288E04A}" presName="parentText" presStyleLbl="node1" presStyleIdx="2" presStyleCnt="3">
        <dgm:presLayoutVars>
          <dgm:chMax val="0"/>
          <dgm:bulletEnabled val="1"/>
        </dgm:presLayoutVars>
      </dgm:prSet>
      <dgm:spPr/>
    </dgm:pt>
    <dgm:pt modelId="{6607D736-F936-4CC9-A85F-F24CE4EC548D}" type="pres">
      <dgm:prSet presAssocID="{ACAAE0B2-0937-44FB-B5FE-AC045288E04A}" presName="childText" presStyleLbl="revTx" presStyleIdx="0" presStyleCnt="1">
        <dgm:presLayoutVars>
          <dgm:bulletEnabled val="1"/>
        </dgm:presLayoutVars>
      </dgm:prSet>
      <dgm:spPr/>
    </dgm:pt>
  </dgm:ptLst>
  <dgm:cxnLst>
    <dgm:cxn modelId="{9E49E00B-EE5E-46BC-A929-4110C97F26F0}" srcId="{ACAAE0B2-0937-44FB-B5FE-AC045288E04A}" destId="{22CEDA83-D5A0-48DB-8163-E40BFC900E3A}" srcOrd="0" destOrd="0" parTransId="{FFA84FBB-5C0E-4271-ADEC-F93B38D5AC82}" sibTransId="{641045D7-E9BC-4DA4-8321-010DF4C62CB0}"/>
    <dgm:cxn modelId="{A80BE131-CCB1-4364-BBA8-4A753DE68435}" type="presOf" srcId="{4698D926-E9FC-473E-A199-116788C3DAD5}" destId="{6607D736-F936-4CC9-A85F-F24CE4EC548D}" srcOrd="0" destOrd="1" presId="urn:microsoft.com/office/officeart/2005/8/layout/vList2"/>
    <dgm:cxn modelId="{4E0ACF4E-7CBE-438E-9BED-EE84B63C1AF9}" type="presOf" srcId="{5CAC6E89-8D61-41CE-B485-D446E81BC557}" destId="{7A91A4FC-4ED9-41B2-9B83-09BE415FCECF}" srcOrd="0" destOrd="0" presId="urn:microsoft.com/office/officeart/2005/8/layout/vList2"/>
    <dgm:cxn modelId="{64609A74-824C-4706-8E66-B272406970BD}" type="presOf" srcId="{ACAAE0B2-0937-44FB-B5FE-AC045288E04A}" destId="{BD69AF70-FDD3-4F65-B044-186A952BCA3E}" srcOrd="0" destOrd="0" presId="urn:microsoft.com/office/officeart/2005/8/layout/vList2"/>
    <dgm:cxn modelId="{02606483-A327-4625-BAAF-E608969542AC}" type="presOf" srcId="{4E045BB2-63F7-4DA4-88B4-A8C927B884A3}" destId="{4364C633-99A8-442F-AB7B-98CC9B35593A}" srcOrd="0" destOrd="0" presId="urn:microsoft.com/office/officeart/2005/8/layout/vList2"/>
    <dgm:cxn modelId="{F97D9C96-F0EB-4244-9AF6-16645DA9715D}" srcId="{5CAC6E89-8D61-41CE-B485-D446E81BC557}" destId="{4E045BB2-63F7-4DA4-88B4-A8C927B884A3}" srcOrd="0" destOrd="0" parTransId="{129C0E1A-0AE7-41B1-A837-DC59CD4AF189}" sibTransId="{B30E668D-F2B1-4184-B260-F1D6EE3B2B96}"/>
    <dgm:cxn modelId="{2DAB5B9B-4B6E-4051-9C45-7A744800A7D9}" type="presOf" srcId="{45F22626-D450-421C-A612-BA0F097ADBB1}" destId="{709EF244-9908-42D8-B846-1F5AE2BBD0F8}" srcOrd="0" destOrd="0" presId="urn:microsoft.com/office/officeart/2005/8/layout/vList2"/>
    <dgm:cxn modelId="{CBCDE3A0-4689-4E67-BDBC-D23F92B280DC}" type="presOf" srcId="{22CEDA83-D5A0-48DB-8163-E40BFC900E3A}" destId="{6607D736-F936-4CC9-A85F-F24CE4EC548D}" srcOrd="0" destOrd="0" presId="urn:microsoft.com/office/officeart/2005/8/layout/vList2"/>
    <dgm:cxn modelId="{43464EAA-0564-4781-B7D6-8BFF430F5D57}" srcId="{5CAC6E89-8D61-41CE-B485-D446E81BC557}" destId="{45F22626-D450-421C-A612-BA0F097ADBB1}" srcOrd="1" destOrd="0" parTransId="{F90B12C8-D7C3-4413-900E-D1FD6CEBE301}" sibTransId="{18681B9E-B438-47C6-942B-C78E8AE2FEB5}"/>
    <dgm:cxn modelId="{217E1EBD-8479-439E-8DEB-D7CFB5A7895E}" srcId="{5CAC6E89-8D61-41CE-B485-D446E81BC557}" destId="{ACAAE0B2-0937-44FB-B5FE-AC045288E04A}" srcOrd="2" destOrd="0" parTransId="{6411EE85-D37B-4436-8480-87B3766C20F3}" sibTransId="{1DD20117-8A2D-4729-AC22-39B059DF0BEE}"/>
    <dgm:cxn modelId="{D338C2D1-E535-47F4-BD37-041624F8E7CF}" srcId="{ACAAE0B2-0937-44FB-B5FE-AC045288E04A}" destId="{4698D926-E9FC-473E-A199-116788C3DAD5}" srcOrd="1" destOrd="0" parTransId="{8118A63B-FCA9-462A-A61B-1C76B454E7E4}" sibTransId="{97D15FA7-2993-435D-B218-1D0DB1E1821A}"/>
    <dgm:cxn modelId="{A6A93FD3-A4AB-42BF-9F8C-DAF998B48B2C}" srcId="{ACAAE0B2-0937-44FB-B5FE-AC045288E04A}" destId="{6E8A5037-9B71-4A75-8A9B-617673E9E56E}" srcOrd="2" destOrd="0" parTransId="{85B385CF-F739-4791-9C26-9381F1E153A9}" sibTransId="{0889D297-3370-4C46-8EBF-0F17AFDB9037}"/>
    <dgm:cxn modelId="{2B6B0CFA-1498-4B97-95A0-F0F3F37163EF}" type="presOf" srcId="{6E8A5037-9B71-4A75-8A9B-617673E9E56E}" destId="{6607D736-F936-4CC9-A85F-F24CE4EC548D}" srcOrd="0" destOrd="2" presId="urn:microsoft.com/office/officeart/2005/8/layout/vList2"/>
    <dgm:cxn modelId="{3B30F471-99E1-4409-B462-112C5BA97393}" type="presParOf" srcId="{7A91A4FC-4ED9-41B2-9B83-09BE415FCECF}" destId="{4364C633-99A8-442F-AB7B-98CC9B35593A}" srcOrd="0" destOrd="0" presId="urn:microsoft.com/office/officeart/2005/8/layout/vList2"/>
    <dgm:cxn modelId="{80969032-0964-4D75-BBBA-39C8B4DCB4D5}" type="presParOf" srcId="{7A91A4FC-4ED9-41B2-9B83-09BE415FCECF}" destId="{F9EDBD90-9011-4E62-9E36-F388ABABDF42}" srcOrd="1" destOrd="0" presId="urn:microsoft.com/office/officeart/2005/8/layout/vList2"/>
    <dgm:cxn modelId="{2589432A-19F8-4B2D-8FFC-8340FC3AD2C0}" type="presParOf" srcId="{7A91A4FC-4ED9-41B2-9B83-09BE415FCECF}" destId="{709EF244-9908-42D8-B846-1F5AE2BBD0F8}" srcOrd="2" destOrd="0" presId="urn:microsoft.com/office/officeart/2005/8/layout/vList2"/>
    <dgm:cxn modelId="{BA439873-8D2D-4337-99C1-6BC17A31037E}" type="presParOf" srcId="{7A91A4FC-4ED9-41B2-9B83-09BE415FCECF}" destId="{F40828B5-81DB-46E2-8DB9-E67358A03CCD}" srcOrd="3" destOrd="0" presId="urn:microsoft.com/office/officeart/2005/8/layout/vList2"/>
    <dgm:cxn modelId="{DCC1C9D2-1413-49CA-9AAE-051FCE8893A2}" type="presParOf" srcId="{7A91A4FC-4ED9-41B2-9B83-09BE415FCECF}" destId="{BD69AF70-FDD3-4F65-B044-186A952BCA3E}" srcOrd="4" destOrd="0" presId="urn:microsoft.com/office/officeart/2005/8/layout/vList2"/>
    <dgm:cxn modelId="{B4908442-7010-42DB-86CC-13E48BD7B440}" type="presParOf" srcId="{7A91A4FC-4ED9-41B2-9B83-09BE415FCECF}" destId="{6607D736-F936-4CC9-A85F-F24CE4EC548D}" srcOrd="5"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FB9E8E93-E505-4F61-B986-63526300BB1E}">
      <dgm:prSet phldrT="[Text]" phldr="0"/>
      <dgm:spPr/>
      <dgm:t>
        <a:bodyPr/>
        <a:lstStyle/>
        <a:p>
          <a:r>
            <a:rPr lang="en-US" dirty="0"/>
            <a:t>During initial compilation PSP optimization will evaluate the most “at risk” parameterized predicates (up to three out of all available)</a:t>
          </a:r>
          <a:endParaRPr lang="en-US"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ED2EE4-A642-40B7-81E6-BCFCD4A170F9}">
      <dgm:prSet/>
      <dgm:spPr/>
      <dgm:t>
        <a:bodyPr/>
        <a:lstStyle/>
        <a:p>
          <a:r>
            <a:rPr lang="en-US" dirty="0"/>
            <a:t>First version is scoped to equality predicates referencing statistics-covered columns;  </a:t>
          </a:r>
          <a:r>
            <a:rPr lang="en-US" dirty="0">
              <a:latin typeface="Consolas" panose="020B0609020204030204" pitchFamily="49" charset="0"/>
            </a:rPr>
            <a:t>WHERE </a:t>
          </a:r>
          <a:r>
            <a:rPr lang="en-US" dirty="0" err="1">
              <a:latin typeface="Consolas" panose="020B0609020204030204" pitchFamily="49" charset="0"/>
            </a:rPr>
            <a:t>AgentId</a:t>
          </a:r>
          <a:r>
            <a:rPr lang="en-US" dirty="0">
              <a:latin typeface="Consolas" panose="020B0609020204030204" pitchFamily="49" charset="0"/>
            </a:rPr>
            <a:t> = @AgentId</a:t>
          </a:r>
        </a:p>
      </dgm:t>
    </dgm:pt>
    <dgm:pt modelId="{29D63EA4-4AFB-4EFC-869C-051C43C4A303}" type="parTrans" cxnId="{FDC2D4D1-068D-47ED-BFA1-E5BFDC32F7C6}">
      <dgm:prSet/>
      <dgm:spPr/>
      <dgm:t>
        <a:bodyPr/>
        <a:lstStyle/>
        <a:p>
          <a:endParaRPr lang="en-US"/>
        </a:p>
      </dgm:t>
    </dgm:pt>
    <dgm:pt modelId="{1EE76036-E0AF-47AD-A59B-E1FF963EF864}" type="sibTrans" cxnId="{FDC2D4D1-068D-47ED-BFA1-E5BFDC32F7C6}">
      <dgm:prSet/>
      <dgm:spPr/>
      <dgm:t>
        <a:bodyPr/>
        <a:lstStyle/>
        <a:p>
          <a:endParaRPr lang="en-US"/>
        </a:p>
      </dgm:t>
    </dgm:pt>
    <dgm:pt modelId="{72ABF823-178C-4100-B561-A8F279FAD6A5}">
      <dgm:prSet/>
      <dgm:spPr/>
      <dgm:t>
        <a:bodyPr/>
        <a:lstStyle/>
        <a:p>
          <a:r>
            <a:rPr lang="en-US" dirty="0"/>
            <a:t>Uses the statistics histogram to identify non-uniform distributions</a:t>
          </a:r>
        </a:p>
      </dgm:t>
    </dgm:pt>
    <dgm:pt modelId="{D03C5D29-2E74-45A0-BB1B-8FB99827677E}" type="parTrans" cxnId="{CBAF0048-BFFC-4AA7-B072-436FDAA272C9}">
      <dgm:prSet/>
      <dgm:spPr/>
      <dgm:t>
        <a:bodyPr/>
        <a:lstStyle/>
        <a:p>
          <a:endParaRPr lang="en-US"/>
        </a:p>
      </dgm:t>
    </dgm:pt>
    <dgm:pt modelId="{955AE891-7D62-49A5-A836-B2E0DE29A864}" type="sibTrans" cxnId="{CBAF0048-BFFC-4AA7-B072-436FDAA272C9}">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4CFF34A-7C23-4C2F-B398-F47637EF0A18}" type="pres">
      <dgm:prSet presAssocID="{FB9E8E93-E505-4F61-B986-63526300BB1E}" presName="parentText" presStyleLbl="node1" presStyleIdx="0" presStyleCnt="3">
        <dgm:presLayoutVars>
          <dgm:chMax val="0"/>
          <dgm:bulletEnabled val="1"/>
        </dgm:presLayoutVars>
      </dgm:prSet>
      <dgm:spPr/>
    </dgm:pt>
    <dgm:pt modelId="{1EFF5E9D-FD45-4AE1-B84F-FA4E6CDDA175}" type="pres">
      <dgm:prSet presAssocID="{D0DB3B49-9806-45F0-815F-F683F3A245D5}" presName="spacer" presStyleCnt="0"/>
      <dgm:spPr/>
    </dgm:pt>
    <dgm:pt modelId="{9FF63987-23BA-4130-A511-B8D519664930}" type="pres">
      <dgm:prSet presAssocID="{64ED2EE4-A642-40B7-81E6-BCFCD4A170F9}" presName="parentText" presStyleLbl="node1" presStyleIdx="1" presStyleCnt="3">
        <dgm:presLayoutVars>
          <dgm:chMax val="0"/>
          <dgm:bulletEnabled val="1"/>
        </dgm:presLayoutVars>
      </dgm:prSet>
      <dgm:spPr/>
    </dgm:pt>
    <dgm:pt modelId="{B10A171C-6CCA-44D7-B0D8-E26327561C2D}" type="pres">
      <dgm:prSet presAssocID="{1EE76036-E0AF-47AD-A59B-E1FF963EF864}" presName="spacer" presStyleCnt="0"/>
      <dgm:spPr/>
    </dgm:pt>
    <dgm:pt modelId="{2C8B49A1-8B54-4C9F-B82C-77A5F6BE6562}" type="pres">
      <dgm:prSet presAssocID="{72ABF823-178C-4100-B561-A8F279FAD6A5}" presName="parentText" presStyleLbl="node1" presStyleIdx="2" presStyleCnt="3">
        <dgm:presLayoutVars>
          <dgm:chMax val="0"/>
          <dgm:bulletEnabled val="1"/>
        </dgm:presLayoutVars>
      </dgm:prSet>
      <dgm:spPr/>
    </dgm:pt>
  </dgm:ptLst>
  <dgm:cxnLst>
    <dgm:cxn modelId="{35004A06-485C-4CBE-BC19-E8E46446078D}" type="presOf" srcId="{72ABF823-178C-4100-B561-A8F279FAD6A5}" destId="{2C8B49A1-8B54-4C9F-B82C-77A5F6BE6562}" srcOrd="0" destOrd="0" presId="urn:microsoft.com/office/officeart/2005/8/layout/vList2"/>
    <dgm:cxn modelId="{50B68244-667E-4A60-9DBF-40708B2B7104}" srcId="{5CAC6E89-8D61-41CE-B485-D446E81BC557}" destId="{FB9E8E93-E505-4F61-B986-63526300BB1E}" srcOrd="0" destOrd="0" parTransId="{0A28C454-11D4-48BA-B856-5DF1A51C6CA8}" sibTransId="{D0DB3B49-9806-45F0-815F-F683F3A245D5}"/>
    <dgm:cxn modelId="{CBAF0048-BFFC-4AA7-B072-436FDAA272C9}" srcId="{5CAC6E89-8D61-41CE-B485-D446E81BC557}" destId="{72ABF823-178C-4100-B561-A8F279FAD6A5}" srcOrd="2" destOrd="0" parTransId="{D03C5D29-2E74-45A0-BB1B-8FB99827677E}" sibTransId="{955AE891-7D62-49A5-A836-B2E0DE29A864}"/>
    <dgm:cxn modelId="{4E0ACF4E-7CBE-438E-9BED-EE84B63C1AF9}" type="presOf" srcId="{5CAC6E89-8D61-41CE-B485-D446E81BC557}" destId="{7A91A4FC-4ED9-41B2-9B83-09BE415FCECF}" srcOrd="0" destOrd="0" presId="urn:microsoft.com/office/officeart/2005/8/layout/vList2"/>
    <dgm:cxn modelId="{E0A86170-C223-416B-90DF-D925F51C0349}" type="presOf" srcId="{64ED2EE4-A642-40B7-81E6-BCFCD4A170F9}" destId="{9FF63987-23BA-4130-A511-B8D519664930}" srcOrd="0" destOrd="0" presId="urn:microsoft.com/office/officeart/2005/8/layout/vList2"/>
    <dgm:cxn modelId="{D2B9A252-4CFF-4626-BDA7-764ED4A4B2A2}" type="presOf" srcId="{FB9E8E93-E505-4F61-B986-63526300BB1E}" destId="{44CFF34A-7C23-4C2F-B398-F47637EF0A18}" srcOrd="0" destOrd="0" presId="urn:microsoft.com/office/officeart/2005/8/layout/vList2"/>
    <dgm:cxn modelId="{FDC2D4D1-068D-47ED-BFA1-E5BFDC32F7C6}" srcId="{5CAC6E89-8D61-41CE-B485-D446E81BC557}" destId="{64ED2EE4-A642-40B7-81E6-BCFCD4A170F9}" srcOrd="1" destOrd="0" parTransId="{29D63EA4-4AFB-4EFC-869C-051C43C4A303}" sibTransId="{1EE76036-E0AF-47AD-A59B-E1FF963EF864}"/>
    <dgm:cxn modelId="{63651FE2-F07C-48DF-9EDA-4325077B3F40}" type="presParOf" srcId="{7A91A4FC-4ED9-41B2-9B83-09BE415FCECF}" destId="{44CFF34A-7C23-4C2F-B398-F47637EF0A18}" srcOrd="0" destOrd="0" presId="urn:microsoft.com/office/officeart/2005/8/layout/vList2"/>
    <dgm:cxn modelId="{76EF8495-88CD-4B52-B7C2-B71B203215FB}" type="presParOf" srcId="{7A91A4FC-4ED9-41B2-9B83-09BE415FCECF}" destId="{1EFF5E9D-FD45-4AE1-B84F-FA4E6CDDA175}" srcOrd="1" destOrd="0" presId="urn:microsoft.com/office/officeart/2005/8/layout/vList2"/>
    <dgm:cxn modelId="{7AD8E1A9-BF5B-4A89-BA4B-4CFCC04C06B5}" type="presParOf" srcId="{7A91A4FC-4ED9-41B2-9B83-09BE415FCECF}" destId="{9FF63987-23BA-4130-A511-B8D519664930}" srcOrd="2" destOrd="0" presId="urn:microsoft.com/office/officeart/2005/8/layout/vList2"/>
    <dgm:cxn modelId="{BC5B5093-9FB1-4E12-BEE2-C2C799920565}" type="presParOf" srcId="{7A91A4FC-4ED9-41B2-9B83-09BE415FCECF}" destId="{B10A171C-6CCA-44D7-B0D8-E26327561C2D}" srcOrd="3" destOrd="0" presId="urn:microsoft.com/office/officeart/2005/8/layout/vList2"/>
    <dgm:cxn modelId="{1071FC0A-99F2-4918-948A-F00EFB1C0A93}" type="presParOf" srcId="{7A91A4FC-4ED9-41B2-9B83-09BE415FCECF}" destId="{2C8B49A1-8B54-4C9F-B82C-77A5F6BE6562}" srcOrd="4"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FBC9B00A-14CA-4397-B5FB-6750AAD47715}" type="asst">
      <dgm:prSet phldrT="[Text]"/>
      <dgm:spPr>
        <a:solidFill>
          <a:schemeClr val="tx2">
            <a:lumMod val="60000"/>
            <a:lumOff val="40000"/>
          </a:schemeClr>
        </a:solidFill>
      </dgm:spPr>
      <dgm:t>
        <a:bodyPr/>
        <a:lstStyle/>
        <a:p>
          <a:r>
            <a:rPr lang="en-US" dirty="0"/>
            <a:t>Optimized Plan Forcing</a:t>
          </a:r>
        </a:p>
      </dgm:t>
    </dgm:pt>
    <dgm:pt modelId="{22BF445F-7280-4C2A-9692-149DB32535DC}" type="parTrans" cxnId="{73EA0900-CE13-4A51-AA57-A6BF879D4F96}">
      <dgm:prSet/>
      <dgm:spPr/>
      <dgm:t>
        <a:bodyPr/>
        <a:lstStyle/>
        <a:p>
          <a:endParaRPr lang="en-US"/>
        </a:p>
      </dgm:t>
    </dgm:pt>
    <dgm:pt modelId="{D6BE2072-7069-4A66-89FF-9E6F8768036C}" type="sibTrans" cxnId="{73EA0900-CE13-4A51-AA57-A6BF879D4F96}">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12BB4D1C-4932-4FB5-A5B3-D9E9B7872BE0}" type="pres">
      <dgm:prSet presAssocID="{22BF445F-7280-4C2A-9692-149DB32535DC}" presName="Name19" presStyleLbl="parChTrans1D2" presStyleIdx="5" presStyleCnt="7"/>
      <dgm:spPr/>
    </dgm:pt>
    <dgm:pt modelId="{52E6BFE2-0D95-4828-82AE-0FAC5EF08EAA}" type="pres">
      <dgm:prSet presAssocID="{FBC9B00A-14CA-4397-B5FB-6750AAD47715}" presName="Name21" presStyleCnt="0"/>
      <dgm:spPr/>
    </dgm:pt>
    <dgm:pt modelId="{11711BDA-6E88-4B70-AD55-C75947559D72}" type="pres">
      <dgm:prSet presAssocID="{FBC9B00A-14CA-4397-B5FB-6750AAD47715}" presName="level2Shape" presStyleLbl="asst1" presStyleIdx="6" presStyleCnt="8"/>
      <dgm:spPr/>
    </dgm:pt>
    <dgm:pt modelId="{8A1B2119-0194-4815-A48B-D904407BB993}" type="pres">
      <dgm:prSet presAssocID="{FBC9B00A-14CA-4397-B5FB-6750AAD47715}"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73EA0900-CE13-4A51-AA57-A6BF879D4F96}" srcId="{EC5624F3-2170-43DC-97A6-A153AC2072F1}" destId="{FBC9B00A-14CA-4397-B5FB-6750AAD47715}" srcOrd="5" destOrd="0" parTransId="{22BF445F-7280-4C2A-9692-149DB32535DC}" sibTransId="{D6BE2072-7069-4A66-89FF-9E6F8768036C}"/>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4829CA0D-52BF-4D2B-9B2A-5C25EEDAE0AE}" type="presOf" srcId="{FBC9B00A-14CA-4397-B5FB-6750AAD47715}" destId="{11711BDA-6E88-4B70-AD55-C75947559D72}"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742005E1-AB52-4AE9-9E95-F47D16A8694C}" type="presOf" srcId="{22BF445F-7280-4C2A-9692-149DB32535DC}" destId="{12BB4D1C-4932-4FB5-A5B3-D9E9B7872BE0}"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E6767E71-DE1E-46EA-A1BE-A1B784AFF457}" type="presParOf" srcId="{A65EEE17-B142-4395-9440-82681C1ADA87}" destId="{12BB4D1C-4932-4FB5-A5B3-D9E9B7872BE0}" srcOrd="10" destOrd="0" presId="urn:microsoft.com/office/officeart/2005/8/layout/hierarchy6"/>
    <dgm:cxn modelId="{A720DC4B-B593-4F51-A14F-F17DCEA5D7FF}" type="presParOf" srcId="{A65EEE17-B142-4395-9440-82681C1ADA87}" destId="{52E6BFE2-0D95-4828-82AE-0FAC5EF08EAA}" srcOrd="11" destOrd="0" presId="urn:microsoft.com/office/officeart/2005/8/layout/hierarchy6"/>
    <dgm:cxn modelId="{9C949D05-9430-4EC6-A5C5-745B2251D8B7}" type="presParOf" srcId="{52E6BFE2-0D95-4828-82AE-0FAC5EF08EAA}" destId="{11711BDA-6E88-4B70-AD55-C75947559D72}" srcOrd="0" destOrd="0" presId="urn:microsoft.com/office/officeart/2005/8/layout/hierarchy6"/>
    <dgm:cxn modelId="{D8C05CB7-DF04-46AB-93FB-0637F96C878B}" type="presParOf" srcId="{52E6BFE2-0D95-4828-82AE-0FAC5EF08EAA}" destId="{8A1B2119-0194-4815-A48B-D904407BB993}"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D27BD25-8EDF-4B3E-AAE4-39961C87A9E8}"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25B81B37-80D7-47F9-B566-437FF50FE6D6}">
      <dgm:prSet custT="1"/>
      <dgm:spPr/>
      <dgm:t>
        <a:bodyPr/>
        <a:lstStyle/>
        <a:p>
          <a:r>
            <a:rPr lang="en-US" sz="2400" baseline="0" dirty="0"/>
            <a:t>SQL Database monitors the queries</a:t>
          </a:r>
          <a:endParaRPr lang="en-US" sz="2400" dirty="0"/>
        </a:p>
      </dgm:t>
    </dgm:pt>
    <dgm:pt modelId="{5292EDFC-4A82-4B7B-A528-F9655DF06B5A}" type="parTrans" cxnId="{EE26A851-D48F-438E-ABC0-734B6DCD0CD4}">
      <dgm:prSet/>
      <dgm:spPr/>
      <dgm:t>
        <a:bodyPr/>
        <a:lstStyle/>
        <a:p>
          <a:endParaRPr lang="en-US"/>
        </a:p>
      </dgm:t>
    </dgm:pt>
    <dgm:pt modelId="{1ECC43A8-9361-47AB-92A2-9A4FE17BBCBA}" type="sibTrans" cxnId="{EE26A851-D48F-438E-ABC0-734B6DCD0CD4}">
      <dgm:prSet/>
      <dgm:spPr/>
      <dgm:t>
        <a:bodyPr/>
        <a:lstStyle/>
        <a:p>
          <a:endParaRPr lang="en-US"/>
        </a:p>
      </dgm:t>
    </dgm:pt>
    <dgm:pt modelId="{14405CF9-4616-45B8-B27B-88AA4FEE2F29}">
      <dgm:prSet custT="1"/>
      <dgm:spPr/>
      <dgm:t>
        <a:bodyPr/>
        <a:lstStyle/>
        <a:p>
          <a:r>
            <a:rPr lang="en-US" sz="2400" baseline="0" dirty="0"/>
            <a:t>Identifies indexes that could improve performance</a:t>
          </a:r>
          <a:endParaRPr lang="en-US" sz="2400" dirty="0"/>
        </a:p>
      </dgm:t>
    </dgm:pt>
    <dgm:pt modelId="{71DCBCB9-922E-46BA-BD52-383FC87B0087}" type="parTrans" cxnId="{A37CD94B-E7BB-4A06-8324-B8008FAD278E}">
      <dgm:prSet/>
      <dgm:spPr/>
      <dgm:t>
        <a:bodyPr/>
        <a:lstStyle/>
        <a:p>
          <a:endParaRPr lang="en-US"/>
        </a:p>
      </dgm:t>
    </dgm:pt>
    <dgm:pt modelId="{D6CA08D5-6D33-4568-808E-A3774372EF42}" type="sibTrans" cxnId="{A37CD94B-E7BB-4A06-8324-B8008FAD278E}">
      <dgm:prSet/>
      <dgm:spPr/>
      <dgm:t>
        <a:bodyPr/>
        <a:lstStyle/>
        <a:p>
          <a:endParaRPr lang="en-US"/>
        </a:p>
      </dgm:t>
    </dgm:pt>
    <dgm:pt modelId="{3385DB59-762C-4044-BF8A-4E8A8960430F}">
      <dgm:prSet custT="1"/>
      <dgm:spPr/>
      <dgm:t>
        <a:bodyPr/>
        <a:lstStyle/>
        <a:p>
          <a:r>
            <a:rPr lang="en-US" sz="2400" baseline="0" dirty="0"/>
            <a:t>Creates an index recommendation (high, medium or low)</a:t>
          </a:r>
          <a:endParaRPr lang="en-US" sz="2400" dirty="0"/>
        </a:p>
      </dgm:t>
    </dgm:pt>
    <dgm:pt modelId="{664888C4-1897-4C63-9595-7CDE5654D5A7}" type="parTrans" cxnId="{E9E5452E-897B-4B6A-A26D-A730B16E8485}">
      <dgm:prSet/>
      <dgm:spPr/>
      <dgm:t>
        <a:bodyPr/>
        <a:lstStyle/>
        <a:p>
          <a:endParaRPr lang="en-US"/>
        </a:p>
      </dgm:t>
    </dgm:pt>
    <dgm:pt modelId="{849A1139-D7D3-49DD-A367-D65C9E3BA6F0}" type="sibTrans" cxnId="{E9E5452E-897B-4B6A-A26D-A730B16E8485}">
      <dgm:prSet/>
      <dgm:spPr/>
      <dgm:t>
        <a:bodyPr/>
        <a:lstStyle/>
        <a:p>
          <a:endParaRPr lang="en-US"/>
        </a:p>
      </dgm:t>
    </dgm:pt>
    <dgm:pt modelId="{AF8E42BF-A4EF-45D0-A70A-1937371AAFCA}">
      <dgm:prSet custT="1"/>
      <dgm:spPr/>
      <dgm:t>
        <a:bodyPr/>
        <a:lstStyle/>
        <a:p>
          <a:r>
            <a:rPr lang="en-US" sz="2400" baseline="0" dirty="0"/>
            <a:t>Apply the index recommendation</a:t>
          </a:r>
          <a:endParaRPr lang="en-US" sz="2400" dirty="0"/>
        </a:p>
      </dgm:t>
    </dgm:pt>
    <dgm:pt modelId="{4589C0D4-EE20-46A7-981F-B7B119F86FE9}" type="parTrans" cxnId="{B241C651-C57C-4515-BE80-CA2F581B7E0B}">
      <dgm:prSet/>
      <dgm:spPr/>
      <dgm:t>
        <a:bodyPr/>
        <a:lstStyle/>
        <a:p>
          <a:endParaRPr lang="en-US"/>
        </a:p>
      </dgm:t>
    </dgm:pt>
    <dgm:pt modelId="{1A8CABA4-3942-4DC4-8D41-8F97E83DE900}" type="sibTrans" cxnId="{B241C651-C57C-4515-BE80-CA2F581B7E0B}">
      <dgm:prSet/>
      <dgm:spPr/>
      <dgm:t>
        <a:bodyPr/>
        <a:lstStyle/>
        <a:p>
          <a:endParaRPr lang="en-US"/>
        </a:p>
      </dgm:t>
    </dgm:pt>
    <dgm:pt modelId="{4F921463-E2AB-4C0C-ABF6-E6E7CC9C99FA}">
      <dgm:prSet custT="1"/>
      <dgm:spPr/>
      <dgm:t>
        <a:bodyPr/>
        <a:lstStyle/>
        <a:p>
          <a:r>
            <a:rPr lang="en-US" sz="2400" baseline="0" dirty="0"/>
            <a:t>Compare the performance with the baseline</a:t>
          </a:r>
          <a:endParaRPr lang="en-US" sz="2400" dirty="0"/>
        </a:p>
      </dgm:t>
    </dgm:pt>
    <dgm:pt modelId="{A4DE1EB0-F419-4B03-B2B5-5835A3FE72FE}" type="parTrans" cxnId="{58F96682-8A7B-4658-9AD1-E89317392F6C}">
      <dgm:prSet/>
      <dgm:spPr/>
      <dgm:t>
        <a:bodyPr/>
        <a:lstStyle/>
        <a:p>
          <a:endParaRPr lang="en-US"/>
        </a:p>
      </dgm:t>
    </dgm:pt>
    <dgm:pt modelId="{CE5D81DB-5A87-40AD-951E-FE72D5A2066A}" type="sibTrans" cxnId="{58F96682-8A7B-4658-9AD1-E89317392F6C}">
      <dgm:prSet/>
      <dgm:spPr/>
      <dgm:t>
        <a:bodyPr/>
        <a:lstStyle/>
        <a:p>
          <a:endParaRPr lang="en-US"/>
        </a:p>
      </dgm:t>
    </dgm:pt>
    <dgm:pt modelId="{1EB9D8DE-7AC5-4D27-A216-C1E783BF5B57}">
      <dgm:prSet custT="1"/>
      <dgm:spPr/>
      <dgm:t>
        <a:bodyPr/>
        <a:lstStyle/>
        <a:p>
          <a:r>
            <a:rPr lang="en-US" sz="2400" baseline="0" dirty="0"/>
            <a:t>If performance improved?</a:t>
          </a:r>
          <a:endParaRPr lang="en-US" sz="2400" dirty="0"/>
        </a:p>
      </dgm:t>
    </dgm:pt>
    <dgm:pt modelId="{197BACEE-6D60-42E1-9EF1-4AA7D3730A46}" type="parTrans" cxnId="{01CBA322-4CA0-4205-9CBA-0E258D43607D}">
      <dgm:prSet/>
      <dgm:spPr/>
      <dgm:t>
        <a:bodyPr/>
        <a:lstStyle/>
        <a:p>
          <a:endParaRPr lang="en-US"/>
        </a:p>
      </dgm:t>
    </dgm:pt>
    <dgm:pt modelId="{D24D4074-71EF-45FB-BE5E-95CE85D7E960}" type="sibTrans" cxnId="{01CBA322-4CA0-4205-9CBA-0E258D43607D}">
      <dgm:prSet/>
      <dgm:spPr/>
      <dgm:t>
        <a:bodyPr/>
        <a:lstStyle/>
        <a:p>
          <a:endParaRPr lang="en-US"/>
        </a:p>
      </dgm:t>
    </dgm:pt>
    <dgm:pt modelId="{96280C0B-450D-4127-874A-D250A7B977F7}">
      <dgm:prSet custT="1"/>
      <dgm:spPr/>
      <dgm:t>
        <a:bodyPr/>
        <a:lstStyle/>
        <a:p>
          <a:r>
            <a:rPr lang="en-US" sz="2000" baseline="0" dirty="0"/>
            <a:t>Revert OR</a:t>
          </a:r>
          <a:endParaRPr lang="en-US" sz="2000" dirty="0"/>
        </a:p>
      </dgm:t>
    </dgm:pt>
    <dgm:pt modelId="{D47E6F7B-E6C0-4BFA-8031-2EE49F1F5B15}" type="parTrans" cxnId="{B057BE6E-C7D3-4F68-A06C-18646CC17050}">
      <dgm:prSet/>
      <dgm:spPr/>
      <dgm:t>
        <a:bodyPr/>
        <a:lstStyle/>
        <a:p>
          <a:endParaRPr lang="en-US"/>
        </a:p>
      </dgm:t>
    </dgm:pt>
    <dgm:pt modelId="{C11AD8FD-86CE-4605-82BA-3726E653208D}" type="sibTrans" cxnId="{B057BE6E-C7D3-4F68-A06C-18646CC17050}">
      <dgm:prSet/>
      <dgm:spPr/>
      <dgm:t>
        <a:bodyPr/>
        <a:lstStyle/>
        <a:p>
          <a:endParaRPr lang="en-US"/>
        </a:p>
      </dgm:t>
    </dgm:pt>
    <dgm:pt modelId="{0F650A0D-AF95-47A3-96B1-8FF188F4760D}">
      <dgm:prSet custT="1"/>
      <dgm:spPr/>
      <dgm:t>
        <a:bodyPr/>
        <a:lstStyle/>
        <a:p>
          <a:r>
            <a:rPr lang="en-US" sz="2000" baseline="0" dirty="0"/>
            <a:t>Flagged as successful</a:t>
          </a:r>
          <a:endParaRPr lang="en-US" sz="2000" dirty="0"/>
        </a:p>
      </dgm:t>
    </dgm:pt>
    <dgm:pt modelId="{5E569940-B6EE-43A5-947E-F9785989ABB2}" type="parTrans" cxnId="{47EA19CE-FA0F-4323-918A-4047E78A952C}">
      <dgm:prSet/>
      <dgm:spPr/>
      <dgm:t>
        <a:bodyPr/>
        <a:lstStyle/>
        <a:p>
          <a:endParaRPr lang="en-US"/>
        </a:p>
      </dgm:t>
    </dgm:pt>
    <dgm:pt modelId="{1F08C55B-2663-454E-9228-3CE8698D5CF9}" type="sibTrans" cxnId="{47EA19CE-FA0F-4323-918A-4047E78A952C}">
      <dgm:prSet/>
      <dgm:spPr/>
      <dgm:t>
        <a:bodyPr/>
        <a:lstStyle/>
        <a:p>
          <a:endParaRPr lang="en-US"/>
        </a:p>
      </dgm:t>
    </dgm:pt>
    <dgm:pt modelId="{9E29E3A8-26D5-46D6-9680-9D050C2C7E23}" type="pres">
      <dgm:prSet presAssocID="{6D27BD25-8EDF-4B3E-AAE4-39961C87A9E8}" presName="Name0" presStyleCnt="0">
        <dgm:presLayoutVars>
          <dgm:dir/>
          <dgm:resizeHandles val="exact"/>
        </dgm:presLayoutVars>
      </dgm:prSet>
      <dgm:spPr/>
    </dgm:pt>
    <dgm:pt modelId="{9F095C3C-B302-496C-9DF7-08715002A7AF}" type="pres">
      <dgm:prSet presAssocID="{25B81B37-80D7-47F9-B566-437FF50FE6D6}" presName="node" presStyleLbl="node1" presStyleIdx="0" presStyleCnt="6">
        <dgm:presLayoutVars>
          <dgm:bulletEnabled val="1"/>
        </dgm:presLayoutVars>
      </dgm:prSet>
      <dgm:spPr/>
    </dgm:pt>
    <dgm:pt modelId="{599BCCF4-1723-41CF-89CA-6F0F876FF2B2}" type="pres">
      <dgm:prSet presAssocID="{1ECC43A8-9361-47AB-92A2-9A4FE17BBCBA}" presName="sibTrans" presStyleLbl="sibTrans1D1" presStyleIdx="0" presStyleCnt="5"/>
      <dgm:spPr/>
    </dgm:pt>
    <dgm:pt modelId="{011F9B4A-4379-47C0-9800-074A37B9D98B}" type="pres">
      <dgm:prSet presAssocID="{1ECC43A8-9361-47AB-92A2-9A4FE17BBCBA}" presName="connectorText" presStyleLbl="sibTrans1D1" presStyleIdx="0" presStyleCnt="5"/>
      <dgm:spPr/>
    </dgm:pt>
    <dgm:pt modelId="{EA8C42DE-E869-45C7-A16E-7B2B7F20D740}" type="pres">
      <dgm:prSet presAssocID="{14405CF9-4616-45B8-B27B-88AA4FEE2F29}" presName="node" presStyleLbl="node1" presStyleIdx="1" presStyleCnt="6">
        <dgm:presLayoutVars>
          <dgm:bulletEnabled val="1"/>
        </dgm:presLayoutVars>
      </dgm:prSet>
      <dgm:spPr/>
    </dgm:pt>
    <dgm:pt modelId="{2DD5F3A0-AD9F-4311-866C-13B3B8723025}" type="pres">
      <dgm:prSet presAssocID="{D6CA08D5-6D33-4568-808E-A3774372EF42}" presName="sibTrans" presStyleLbl="sibTrans1D1" presStyleIdx="1" presStyleCnt="5"/>
      <dgm:spPr/>
    </dgm:pt>
    <dgm:pt modelId="{3C40D3E5-09FD-4B58-955C-7439C84EA2A6}" type="pres">
      <dgm:prSet presAssocID="{D6CA08D5-6D33-4568-808E-A3774372EF42}" presName="connectorText" presStyleLbl="sibTrans1D1" presStyleIdx="1" presStyleCnt="5"/>
      <dgm:spPr/>
    </dgm:pt>
    <dgm:pt modelId="{56F5725E-E259-4A56-BECF-6198FCECC981}" type="pres">
      <dgm:prSet presAssocID="{3385DB59-762C-4044-BF8A-4E8A8960430F}" presName="node" presStyleLbl="node1" presStyleIdx="2" presStyleCnt="6">
        <dgm:presLayoutVars>
          <dgm:bulletEnabled val="1"/>
        </dgm:presLayoutVars>
      </dgm:prSet>
      <dgm:spPr/>
    </dgm:pt>
    <dgm:pt modelId="{57561826-B323-4FD9-82DA-827D89D59AC0}" type="pres">
      <dgm:prSet presAssocID="{849A1139-D7D3-49DD-A367-D65C9E3BA6F0}" presName="sibTrans" presStyleLbl="sibTrans1D1" presStyleIdx="2" presStyleCnt="5"/>
      <dgm:spPr/>
    </dgm:pt>
    <dgm:pt modelId="{2FF4CD16-DC04-41CA-AB7C-3571F17C23AF}" type="pres">
      <dgm:prSet presAssocID="{849A1139-D7D3-49DD-A367-D65C9E3BA6F0}" presName="connectorText" presStyleLbl="sibTrans1D1" presStyleIdx="2" presStyleCnt="5"/>
      <dgm:spPr/>
    </dgm:pt>
    <dgm:pt modelId="{0E04FCA1-66BA-4316-B74B-DA6BF04B50CD}" type="pres">
      <dgm:prSet presAssocID="{AF8E42BF-A4EF-45D0-A70A-1937371AAFCA}" presName="node" presStyleLbl="node1" presStyleIdx="3" presStyleCnt="6">
        <dgm:presLayoutVars>
          <dgm:bulletEnabled val="1"/>
        </dgm:presLayoutVars>
      </dgm:prSet>
      <dgm:spPr/>
    </dgm:pt>
    <dgm:pt modelId="{ECB7420A-83B5-4BF4-B80B-B37B00F8D375}" type="pres">
      <dgm:prSet presAssocID="{1A8CABA4-3942-4DC4-8D41-8F97E83DE900}" presName="sibTrans" presStyleLbl="sibTrans1D1" presStyleIdx="3" presStyleCnt="5"/>
      <dgm:spPr/>
    </dgm:pt>
    <dgm:pt modelId="{AC8C3E93-8B50-4E8B-8998-C8B9AFF51E85}" type="pres">
      <dgm:prSet presAssocID="{1A8CABA4-3942-4DC4-8D41-8F97E83DE900}" presName="connectorText" presStyleLbl="sibTrans1D1" presStyleIdx="3" presStyleCnt="5"/>
      <dgm:spPr/>
    </dgm:pt>
    <dgm:pt modelId="{524B6BF2-2764-4DDF-ADB7-3B742FDAD4CF}" type="pres">
      <dgm:prSet presAssocID="{4F921463-E2AB-4C0C-ABF6-E6E7CC9C99FA}" presName="node" presStyleLbl="node1" presStyleIdx="4" presStyleCnt="6">
        <dgm:presLayoutVars>
          <dgm:bulletEnabled val="1"/>
        </dgm:presLayoutVars>
      </dgm:prSet>
      <dgm:spPr/>
    </dgm:pt>
    <dgm:pt modelId="{0F770C92-8707-4ED6-A0D6-535782DA22A9}" type="pres">
      <dgm:prSet presAssocID="{CE5D81DB-5A87-40AD-951E-FE72D5A2066A}" presName="sibTrans" presStyleLbl="sibTrans1D1" presStyleIdx="4" presStyleCnt="5"/>
      <dgm:spPr/>
    </dgm:pt>
    <dgm:pt modelId="{04BA8F3E-8C1E-4E99-82EF-82464A882C2F}" type="pres">
      <dgm:prSet presAssocID="{CE5D81DB-5A87-40AD-951E-FE72D5A2066A}" presName="connectorText" presStyleLbl="sibTrans1D1" presStyleIdx="4" presStyleCnt="5"/>
      <dgm:spPr/>
    </dgm:pt>
    <dgm:pt modelId="{7F237396-FDCA-46BD-AD11-ABA0E009B081}" type="pres">
      <dgm:prSet presAssocID="{1EB9D8DE-7AC5-4D27-A216-C1E783BF5B57}" presName="node" presStyleLbl="node1" presStyleIdx="5" presStyleCnt="6">
        <dgm:presLayoutVars>
          <dgm:bulletEnabled val="1"/>
        </dgm:presLayoutVars>
      </dgm:prSet>
      <dgm:spPr/>
    </dgm:pt>
  </dgm:ptLst>
  <dgm:cxnLst>
    <dgm:cxn modelId="{6473881C-F765-4204-BE8C-FE2130A73919}" type="presOf" srcId="{CE5D81DB-5A87-40AD-951E-FE72D5A2066A}" destId="{04BA8F3E-8C1E-4E99-82EF-82464A882C2F}" srcOrd="1" destOrd="0" presId="urn:microsoft.com/office/officeart/2005/8/layout/bProcess3"/>
    <dgm:cxn modelId="{01CBA322-4CA0-4205-9CBA-0E258D43607D}" srcId="{6D27BD25-8EDF-4B3E-AAE4-39961C87A9E8}" destId="{1EB9D8DE-7AC5-4D27-A216-C1E783BF5B57}" srcOrd="5" destOrd="0" parTransId="{197BACEE-6D60-42E1-9EF1-4AA7D3730A46}" sibTransId="{D24D4074-71EF-45FB-BE5E-95CE85D7E960}"/>
    <dgm:cxn modelId="{E9E5452E-897B-4B6A-A26D-A730B16E8485}" srcId="{6D27BD25-8EDF-4B3E-AAE4-39961C87A9E8}" destId="{3385DB59-762C-4044-BF8A-4E8A8960430F}" srcOrd="2" destOrd="0" parTransId="{664888C4-1897-4C63-9595-7CDE5654D5A7}" sibTransId="{849A1139-D7D3-49DD-A367-D65C9E3BA6F0}"/>
    <dgm:cxn modelId="{1D351B39-D462-43CF-86F6-C56B9E1E26BB}" type="presOf" srcId="{25B81B37-80D7-47F9-B566-437FF50FE6D6}" destId="{9F095C3C-B302-496C-9DF7-08715002A7AF}" srcOrd="0" destOrd="0" presId="urn:microsoft.com/office/officeart/2005/8/layout/bProcess3"/>
    <dgm:cxn modelId="{EF214B3D-DC70-40B5-A97F-FB78BDB48F92}" type="presOf" srcId="{1A8CABA4-3942-4DC4-8D41-8F97E83DE900}" destId="{AC8C3E93-8B50-4E8B-8998-C8B9AFF51E85}" srcOrd="1" destOrd="0" presId="urn:microsoft.com/office/officeart/2005/8/layout/bProcess3"/>
    <dgm:cxn modelId="{CF6E9D3E-2FC4-4FB5-BF4D-043DEEA4C3AD}" type="presOf" srcId="{4F921463-E2AB-4C0C-ABF6-E6E7CC9C99FA}" destId="{524B6BF2-2764-4DDF-ADB7-3B742FDAD4CF}" srcOrd="0" destOrd="0" presId="urn:microsoft.com/office/officeart/2005/8/layout/bProcess3"/>
    <dgm:cxn modelId="{C3F44040-08A1-4C0D-8589-33AB6E914AA8}" type="presOf" srcId="{AF8E42BF-A4EF-45D0-A70A-1937371AAFCA}" destId="{0E04FCA1-66BA-4316-B74B-DA6BF04B50CD}" srcOrd="0" destOrd="0" presId="urn:microsoft.com/office/officeart/2005/8/layout/bProcess3"/>
    <dgm:cxn modelId="{D3D91064-557A-4AA2-9740-605AAF07F31E}" type="presOf" srcId="{D6CA08D5-6D33-4568-808E-A3774372EF42}" destId="{3C40D3E5-09FD-4B58-955C-7439C84EA2A6}" srcOrd="1" destOrd="0" presId="urn:microsoft.com/office/officeart/2005/8/layout/bProcess3"/>
    <dgm:cxn modelId="{01552265-CC66-4AF6-9B75-5B17CA4994D7}" type="presOf" srcId="{3385DB59-762C-4044-BF8A-4E8A8960430F}" destId="{56F5725E-E259-4A56-BECF-6198FCECC981}" srcOrd="0" destOrd="0" presId="urn:microsoft.com/office/officeart/2005/8/layout/bProcess3"/>
    <dgm:cxn modelId="{5AA5AB66-39C3-485E-82D1-479D12D0841C}" type="presOf" srcId="{1ECC43A8-9361-47AB-92A2-9A4FE17BBCBA}" destId="{599BCCF4-1723-41CF-89CA-6F0F876FF2B2}" srcOrd="0" destOrd="0" presId="urn:microsoft.com/office/officeart/2005/8/layout/bProcess3"/>
    <dgm:cxn modelId="{EBD76E49-791C-4D46-B7BA-76712FDC7D8F}" type="presOf" srcId="{1ECC43A8-9361-47AB-92A2-9A4FE17BBCBA}" destId="{011F9B4A-4379-47C0-9800-074A37B9D98B}" srcOrd="1" destOrd="0" presId="urn:microsoft.com/office/officeart/2005/8/layout/bProcess3"/>
    <dgm:cxn modelId="{A37CD94B-E7BB-4A06-8324-B8008FAD278E}" srcId="{6D27BD25-8EDF-4B3E-AAE4-39961C87A9E8}" destId="{14405CF9-4616-45B8-B27B-88AA4FEE2F29}" srcOrd="1" destOrd="0" parTransId="{71DCBCB9-922E-46BA-BD52-383FC87B0087}" sibTransId="{D6CA08D5-6D33-4568-808E-A3774372EF42}"/>
    <dgm:cxn modelId="{B057BE6E-C7D3-4F68-A06C-18646CC17050}" srcId="{1EB9D8DE-7AC5-4D27-A216-C1E783BF5B57}" destId="{96280C0B-450D-4127-874A-D250A7B977F7}" srcOrd="0" destOrd="0" parTransId="{D47E6F7B-E6C0-4BFA-8031-2EE49F1F5B15}" sibTransId="{C11AD8FD-86CE-4605-82BA-3726E653208D}"/>
    <dgm:cxn modelId="{EE26A851-D48F-438E-ABC0-734B6DCD0CD4}" srcId="{6D27BD25-8EDF-4B3E-AAE4-39961C87A9E8}" destId="{25B81B37-80D7-47F9-B566-437FF50FE6D6}" srcOrd="0" destOrd="0" parTransId="{5292EDFC-4A82-4B7B-A528-F9655DF06B5A}" sibTransId="{1ECC43A8-9361-47AB-92A2-9A4FE17BBCBA}"/>
    <dgm:cxn modelId="{B241C651-C57C-4515-BE80-CA2F581B7E0B}" srcId="{6D27BD25-8EDF-4B3E-AAE4-39961C87A9E8}" destId="{AF8E42BF-A4EF-45D0-A70A-1937371AAFCA}" srcOrd="3" destOrd="0" parTransId="{4589C0D4-EE20-46A7-981F-B7B119F86FE9}" sibTransId="{1A8CABA4-3942-4DC4-8D41-8F97E83DE900}"/>
    <dgm:cxn modelId="{637E4857-11B1-48C7-A625-ED650B1CF4A9}" type="presOf" srcId="{D6CA08D5-6D33-4568-808E-A3774372EF42}" destId="{2DD5F3A0-AD9F-4311-866C-13B3B8723025}" srcOrd="0" destOrd="0" presId="urn:microsoft.com/office/officeart/2005/8/layout/bProcess3"/>
    <dgm:cxn modelId="{62A83759-0F71-48A9-B728-D049EBBC0841}" type="presOf" srcId="{849A1139-D7D3-49DD-A367-D65C9E3BA6F0}" destId="{2FF4CD16-DC04-41CA-AB7C-3571F17C23AF}" srcOrd="1" destOrd="0" presId="urn:microsoft.com/office/officeart/2005/8/layout/bProcess3"/>
    <dgm:cxn modelId="{58F96682-8A7B-4658-9AD1-E89317392F6C}" srcId="{6D27BD25-8EDF-4B3E-AAE4-39961C87A9E8}" destId="{4F921463-E2AB-4C0C-ABF6-E6E7CC9C99FA}" srcOrd="4" destOrd="0" parTransId="{A4DE1EB0-F419-4B03-B2B5-5835A3FE72FE}" sibTransId="{CE5D81DB-5A87-40AD-951E-FE72D5A2066A}"/>
    <dgm:cxn modelId="{0F630F8A-B36E-4397-982D-DFDF0070F79C}" type="presOf" srcId="{1EB9D8DE-7AC5-4D27-A216-C1E783BF5B57}" destId="{7F237396-FDCA-46BD-AD11-ABA0E009B081}" srcOrd="0" destOrd="0" presId="urn:microsoft.com/office/officeart/2005/8/layout/bProcess3"/>
    <dgm:cxn modelId="{03086A99-CFE6-47C1-AC27-018DB65C3C71}" type="presOf" srcId="{CE5D81DB-5A87-40AD-951E-FE72D5A2066A}" destId="{0F770C92-8707-4ED6-A0D6-535782DA22A9}" srcOrd="0" destOrd="0" presId="urn:microsoft.com/office/officeart/2005/8/layout/bProcess3"/>
    <dgm:cxn modelId="{95B0949B-657E-4DDF-89A0-553395382DFF}" type="presOf" srcId="{14405CF9-4616-45B8-B27B-88AA4FEE2F29}" destId="{EA8C42DE-E869-45C7-A16E-7B2B7F20D740}" srcOrd="0" destOrd="0" presId="urn:microsoft.com/office/officeart/2005/8/layout/bProcess3"/>
    <dgm:cxn modelId="{CFA2A49D-0F38-4473-A2C7-550D19A84EA0}" type="presOf" srcId="{0F650A0D-AF95-47A3-96B1-8FF188F4760D}" destId="{7F237396-FDCA-46BD-AD11-ABA0E009B081}" srcOrd="0" destOrd="2" presId="urn:microsoft.com/office/officeart/2005/8/layout/bProcess3"/>
    <dgm:cxn modelId="{A72152A4-200F-4ABC-AB63-2CF9CE1A8A47}" type="presOf" srcId="{849A1139-D7D3-49DD-A367-D65C9E3BA6F0}" destId="{57561826-B323-4FD9-82DA-827D89D59AC0}" srcOrd="0" destOrd="0" presId="urn:microsoft.com/office/officeart/2005/8/layout/bProcess3"/>
    <dgm:cxn modelId="{C6BAA6B4-598E-4D0B-B636-5585E90C133F}" type="presOf" srcId="{6D27BD25-8EDF-4B3E-AAE4-39961C87A9E8}" destId="{9E29E3A8-26D5-46D6-9680-9D050C2C7E23}" srcOrd="0" destOrd="0" presId="urn:microsoft.com/office/officeart/2005/8/layout/bProcess3"/>
    <dgm:cxn modelId="{F8C03AB5-CCDE-4599-90C8-1F83BD9894D2}" type="presOf" srcId="{1A8CABA4-3942-4DC4-8D41-8F97E83DE900}" destId="{ECB7420A-83B5-4BF4-B80B-B37B00F8D375}" srcOrd="0" destOrd="0" presId="urn:microsoft.com/office/officeart/2005/8/layout/bProcess3"/>
    <dgm:cxn modelId="{47EA19CE-FA0F-4323-918A-4047E78A952C}" srcId="{1EB9D8DE-7AC5-4D27-A216-C1E783BF5B57}" destId="{0F650A0D-AF95-47A3-96B1-8FF188F4760D}" srcOrd="1" destOrd="0" parTransId="{5E569940-B6EE-43A5-947E-F9785989ABB2}" sibTransId="{1F08C55B-2663-454E-9228-3CE8698D5CF9}"/>
    <dgm:cxn modelId="{D5DBC3F9-568C-4349-AFE0-28D0B9D56FD1}" type="presOf" srcId="{96280C0B-450D-4127-874A-D250A7B977F7}" destId="{7F237396-FDCA-46BD-AD11-ABA0E009B081}" srcOrd="0" destOrd="1" presId="urn:microsoft.com/office/officeart/2005/8/layout/bProcess3"/>
    <dgm:cxn modelId="{B720B2E8-E00D-4639-B799-6B19F1B98B25}" type="presParOf" srcId="{9E29E3A8-26D5-46D6-9680-9D050C2C7E23}" destId="{9F095C3C-B302-496C-9DF7-08715002A7AF}" srcOrd="0" destOrd="0" presId="urn:microsoft.com/office/officeart/2005/8/layout/bProcess3"/>
    <dgm:cxn modelId="{E4532683-D820-4B48-BC95-3056A25ECEF9}" type="presParOf" srcId="{9E29E3A8-26D5-46D6-9680-9D050C2C7E23}" destId="{599BCCF4-1723-41CF-89CA-6F0F876FF2B2}" srcOrd="1" destOrd="0" presId="urn:microsoft.com/office/officeart/2005/8/layout/bProcess3"/>
    <dgm:cxn modelId="{9C577343-5094-4F3B-A3D0-E054A0D988E2}" type="presParOf" srcId="{599BCCF4-1723-41CF-89CA-6F0F876FF2B2}" destId="{011F9B4A-4379-47C0-9800-074A37B9D98B}" srcOrd="0" destOrd="0" presId="urn:microsoft.com/office/officeart/2005/8/layout/bProcess3"/>
    <dgm:cxn modelId="{1C8B830C-A13A-4984-B5E0-6CB3A9521488}" type="presParOf" srcId="{9E29E3A8-26D5-46D6-9680-9D050C2C7E23}" destId="{EA8C42DE-E869-45C7-A16E-7B2B7F20D740}" srcOrd="2" destOrd="0" presId="urn:microsoft.com/office/officeart/2005/8/layout/bProcess3"/>
    <dgm:cxn modelId="{E8D9C150-EC67-4D18-8E86-126C5CAEDE2E}" type="presParOf" srcId="{9E29E3A8-26D5-46D6-9680-9D050C2C7E23}" destId="{2DD5F3A0-AD9F-4311-866C-13B3B8723025}" srcOrd="3" destOrd="0" presId="urn:microsoft.com/office/officeart/2005/8/layout/bProcess3"/>
    <dgm:cxn modelId="{00EDF4A0-6D68-4549-814A-BBF044EA61BA}" type="presParOf" srcId="{2DD5F3A0-AD9F-4311-866C-13B3B8723025}" destId="{3C40D3E5-09FD-4B58-955C-7439C84EA2A6}" srcOrd="0" destOrd="0" presId="urn:microsoft.com/office/officeart/2005/8/layout/bProcess3"/>
    <dgm:cxn modelId="{1EF862FD-8C96-4519-8977-9EC399A30ED1}" type="presParOf" srcId="{9E29E3A8-26D5-46D6-9680-9D050C2C7E23}" destId="{56F5725E-E259-4A56-BECF-6198FCECC981}" srcOrd="4" destOrd="0" presId="urn:microsoft.com/office/officeart/2005/8/layout/bProcess3"/>
    <dgm:cxn modelId="{2497BB77-A481-46CF-8DD2-C45A1E4906D5}" type="presParOf" srcId="{9E29E3A8-26D5-46D6-9680-9D050C2C7E23}" destId="{57561826-B323-4FD9-82DA-827D89D59AC0}" srcOrd="5" destOrd="0" presId="urn:microsoft.com/office/officeart/2005/8/layout/bProcess3"/>
    <dgm:cxn modelId="{81F0D6FB-6B01-4991-9659-F5C3762086A6}" type="presParOf" srcId="{57561826-B323-4FD9-82DA-827D89D59AC0}" destId="{2FF4CD16-DC04-41CA-AB7C-3571F17C23AF}" srcOrd="0" destOrd="0" presId="urn:microsoft.com/office/officeart/2005/8/layout/bProcess3"/>
    <dgm:cxn modelId="{0342BF66-345C-40BD-9990-22E6127C3DF5}" type="presParOf" srcId="{9E29E3A8-26D5-46D6-9680-9D050C2C7E23}" destId="{0E04FCA1-66BA-4316-B74B-DA6BF04B50CD}" srcOrd="6" destOrd="0" presId="urn:microsoft.com/office/officeart/2005/8/layout/bProcess3"/>
    <dgm:cxn modelId="{AE405167-F655-4A98-BC29-F269ABB62BB0}" type="presParOf" srcId="{9E29E3A8-26D5-46D6-9680-9D050C2C7E23}" destId="{ECB7420A-83B5-4BF4-B80B-B37B00F8D375}" srcOrd="7" destOrd="0" presId="urn:microsoft.com/office/officeart/2005/8/layout/bProcess3"/>
    <dgm:cxn modelId="{D87C63AB-39B7-49BB-B83C-98DECD4330EE}" type="presParOf" srcId="{ECB7420A-83B5-4BF4-B80B-B37B00F8D375}" destId="{AC8C3E93-8B50-4E8B-8998-C8B9AFF51E85}" srcOrd="0" destOrd="0" presId="urn:microsoft.com/office/officeart/2005/8/layout/bProcess3"/>
    <dgm:cxn modelId="{DED586EA-82FD-4C37-A56B-E73C742D08DE}" type="presParOf" srcId="{9E29E3A8-26D5-46D6-9680-9D050C2C7E23}" destId="{524B6BF2-2764-4DDF-ADB7-3B742FDAD4CF}" srcOrd="8" destOrd="0" presId="urn:microsoft.com/office/officeart/2005/8/layout/bProcess3"/>
    <dgm:cxn modelId="{98B7D75C-B74E-4BEE-8C9A-C4639C8F65E8}" type="presParOf" srcId="{9E29E3A8-26D5-46D6-9680-9D050C2C7E23}" destId="{0F770C92-8707-4ED6-A0D6-535782DA22A9}" srcOrd="9" destOrd="0" presId="urn:microsoft.com/office/officeart/2005/8/layout/bProcess3"/>
    <dgm:cxn modelId="{E7F21009-6350-4596-8E39-E7DA236ACFE6}" type="presParOf" srcId="{0F770C92-8707-4ED6-A0D6-535782DA22A9}" destId="{04BA8F3E-8C1E-4E99-82EF-82464A882C2F}" srcOrd="0" destOrd="0" presId="urn:microsoft.com/office/officeart/2005/8/layout/bProcess3"/>
    <dgm:cxn modelId="{0BA4BCCE-3DF5-43A9-BF09-631D23F07EAC}" type="presParOf" srcId="{9E29E3A8-26D5-46D6-9680-9D050C2C7E23}" destId="{7F237396-FDCA-46BD-AD11-ABA0E009B08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E2288F7-DF5B-4082-A712-BB7BB7590E5D}" type="doc">
      <dgm:prSet loTypeId="urn:microsoft.com/office/officeart/2005/8/layout/process5" loCatId="process" qsTypeId="urn:microsoft.com/office/officeart/2005/8/quickstyle/simple1" qsCatId="simple" csTypeId="urn:microsoft.com/office/officeart/2005/8/colors/accent1_2" csCatId="accent1"/>
      <dgm:spPr/>
      <dgm:t>
        <a:bodyPr/>
        <a:lstStyle/>
        <a:p>
          <a:endParaRPr lang="en-US"/>
        </a:p>
      </dgm:t>
    </dgm:pt>
    <dgm:pt modelId="{8F63086E-3385-4F5D-B24C-BF7DC5346ABB}">
      <dgm:prSet/>
      <dgm:spPr/>
      <dgm:t>
        <a:bodyPr/>
        <a:lstStyle/>
        <a:p>
          <a:r>
            <a:rPr lang="en-US" baseline="0"/>
            <a:t>Is an index not used</a:t>
          </a:r>
          <a:endParaRPr lang="en-US"/>
        </a:p>
      </dgm:t>
    </dgm:pt>
    <dgm:pt modelId="{D58C90E4-5A8E-4A2F-B40D-DC62F697F125}" type="parTrans" cxnId="{A8F9D286-5144-4D70-AB81-76BF7D2AB7CA}">
      <dgm:prSet/>
      <dgm:spPr/>
      <dgm:t>
        <a:bodyPr/>
        <a:lstStyle/>
        <a:p>
          <a:endParaRPr lang="en-US"/>
        </a:p>
      </dgm:t>
    </dgm:pt>
    <dgm:pt modelId="{0CDBE963-A6CE-49D0-95C3-1216AD9291B4}" type="sibTrans" cxnId="{A8F9D286-5144-4D70-AB81-76BF7D2AB7CA}">
      <dgm:prSet/>
      <dgm:spPr/>
      <dgm:t>
        <a:bodyPr/>
        <a:lstStyle/>
        <a:p>
          <a:endParaRPr lang="en-US"/>
        </a:p>
      </dgm:t>
    </dgm:pt>
    <dgm:pt modelId="{55565061-2270-488C-8464-6DFD21BD6E97}">
      <dgm:prSet/>
      <dgm:spPr/>
      <dgm:t>
        <a:bodyPr/>
        <a:lstStyle/>
        <a:p>
          <a:r>
            <a:rPr lang="en-US" baseline="0"/>
            <a:t>Drop index recommendation </a:t>
          </a:r>
          <a:endParaRPr lang="en-US"/>
        </a:p>
      </dgm:t>
    </dgm:pt>
    <dgm:pt modelId="{9397FF83-18D9-4A8A-A95F-BD3BE8F6B3F0}" type="parTrans" cxnId="{240F02A0-67E6-422B-9ED7-76057AA565EE}">
      <dgm:prSet/>
      <dgm:spPr/>
      <dgm:t>
        <a:bodyPr/>
        <a:lstStyle/>
        <a:p>
          <a:endParaRPr lang="en-US"/>
        </a:p>
      </dgm:t>
    </dgm:pt>
    <dgm:pt modelId="{CC2B1D16-4B6D-4EC0-B090-CE8B2C74BC15}" type="sibTrans" cxnId="{240F02A0-67E6-422B-9ED7-76057AA565EE}">
      <dgm:prSet/>
      <dgm:spPr/>
      <dgm:t>
        <a:bodyPr/>
        <a:lstStyle/>
        <a:p>
          <a:endParaRPr lang="en-US"/>
        </a:p>
      </dgm:t>
    </dgm:pt>
    <dgm:pt modelId="{2E9F5771-B26B-448D-8937-16AA30B2FDBF}">
      <dgm:prSet/>
      <dgm:spPr/>
      <dgm:t>
        <a:bodyPr/>
        <a:lstStyle/>
        <a:p>
          <a:r>
            <a:rPr lang="en-US" baseline="0"/>
            <a:t>Apply the index recommendation</a:t>
          </a:r>
          <a:endParaRPr lang="en-US"/>
        </a:p>
      </dgm:t>
    </dgm:pt>
    <dgm:pt modelId="{3929ADF2-A147-460E-813A-B0CBB787B0EA}" type="parTrans" cxnId="{9EBC9CE2-D429-4A38-8211-AC13F8FD0111}">
      <dgm:prSet/>
      <dgm:spPr/>
      <dgm:t>
        <a:bodyPr/>
        <a:lstStyle/>
        <a:p>
          <a:endParaRPr lang="en-US"/>
        </a:p>
      </dgm:t>
    </dgm:pt>
    <dgm:pt modelId="{3EEF7299-496A-4FB4-BCFC-72ACCE3130B7}" type="sibTrans" cxnId="{9EBC9CE2-D429-4A38-8211-AC13F8FD0111}">
      <dgm:prSet/>
      <dgm:spPr/>
      <dgm:t>
        <a:bodyPr/>
        <a:lstStyle/>
        <a:p>
          <a:endParaRPr lang="en-US"/>
        </a:p>
      </dgm:t>
    </dgm:pt>
    <dgm:pt modelId="{7872C9B5-63CE-4223-8FBE-EBBBAF6649A7}">
      <dgm:prSet/>
      <dgm:spPr/>
      <dgm:t>
        <a:bodyPr/>
        <a:lstStyle/>
        <a:p>
          <a:r>
            <a:rPr lang="en-US" baseline="0"/>
            <a:t>Compare the performance with the baseline</a:t>
          </a:r>
          <a:endParaRPr lang="en-US"/>
        </a:p>
      </dgm:t>
    </dgm:pt>
    <dgm:pt modelId="{762D4BE5-51CE-4543-8AA1-8975F265F6D8}" type="parTrans" cxnId="{5FDB5839-4803-4A12-A4BF-A9BF730D3457}">
      <dgm:prSet/>
      <dgm:spPr/>
      <dgm:t>
        <a:bodyPr/>
        <a:lstStyle/>
        <a:p>
          <a:endParaRPr lang="en-US"/>
        </a:p>
      </dgm:t>
    </dgm:pt>
    <dgm:pt modelId="{A7B74002-7D27-469F-9780-2FB9A9826A6C}" type="sibTrans" cxnId="{5FDB5839-4803-4A12-A4BF-A9BF730D3457}">
      <dgm:prSet/>
      <dgm:spPr/>
      <dgm:t>
        <a:bodyPr/>
        <a:lstStyle/>
        <a:p>
          <a:endParaRPr lang="en-US"/>
        </a:p>
      </dgm:t>
    </dgm:pt>
    <dgm:pt modelId="{27AFD58E-F330-46A4-A9B3-DCC18144E2E2}">
      <dgm:prSet/>
      <dgm:spPr/>
      <dgm:t>
        <a:bodyPr/>
        <a:lstStyle/>
        <a:p>
          <a:r>
            <a:rPr lang="en-US" baseline="0"/>
            <a:t>If performance improved?</a:t>
          </a:r>
          <a:endParaRPr lang="en-US"/>
        </a:p>
      </dgm:t>
    </dgm:pt>
    <dgm:pt modelId="{D76F3992-8CC9-4098-B778-CDCD477198D7}" type="parTrans" cxnId="{0CF901F5-BA0A-4416-8E2E-7347CFC025B6}">
      <dgm:prSet/>
      <dgm:spPr/>
      <dgm:t>
        <a:bodyPr/>
        <a:lstStyle/>
        <a:p>
          <a:endParaRPr lang="en-US"/>
        </a:p>
      </dgm:t>
    </dgm:pt>
    <dgm:pt modelId="{8EF2E8C6-6B87-461E-8E3D-3970A65A85FF}" type="sibTrans" cxnId="{0CF901F5-BA0A-4416-8E2E-7347CFC025B6}">
      <dgm:prSet/>
      <dgm:spPr/>
      <dgm:t>
        <a:bodyPr/>
        <a:lstStyle/>
        <a:p>
          <a:endParaRPr lang="en-US"/>
        </a:p>
      </dgm:t>
    </dgm:pt>
    <dgm:pt modelId="{74266BD0-D640-48D7-8D80-1E564CE3E0C2}">
      <dgm:prSet/>
      <dgm:spPr/>
      <dgm:t>
        <a:bodyPr/>
        <a:lstStyle/>
        <a:p>
          <a:r>
            <a:rPr lang="en-US" baseline="0"/>
            <a:t>Revert OR</a:t>
          </a:r>
          <a:endParaRPr lang="en-US"/>
        </a:p>
      </dgm:t>
    </dgm:pt>
    <dgm:pt modelId="{86E1BF6C-DCD5-4BA3-9E6A-2C628A4BEDC7}" type="parTrans" cxnId="{76E07B82-4713-4D76-9B52-4097F048B3A3}">
      <dgm:prSet/>
      <dgm:spPr/>
      <dgm:t>
        <a:bodyPr/>
        <a:lstStyle/>
        <a:p>
          <a:endParaRPr lang="en-US"/>
        </a:p>
      </dgm:t>
    </dgm:pt>
    <dgm:pt modelId="{EBD8AF03-12E4-483B-8FD1-D48EE52F5E3A}" type="sibTrans" cxnId="{76E07B82-4713-4D76-9B52-4097F048B3A3}">
      <dgm:prSet/>
      <dgm:spPr/>
      <dgm:t>
        <a:bodyPr/>
        <a:lstStyle/>
        <a:p>
          <a:endParaRPr lang="en-US"/>
        </a:p>
      </dgm:t>
    </dgm:pt>
    <dgm:pt modelId="{2A0836E4-1944-4C58-808B-0AA43337603C}">
      <dgm:prSet/>
      <dgm:spPr/>
      <dgm:t>
        <a:bodyPr/>
        <a:lstStyle/>
        <a:p>
          <a:r>
            <a:rPr lang="en-US" baseline="0"/>
            <a:t>Flagged as successful</a:t>
          </a:r>
          <a:endParaRPr lang="en-US"/>
        </a:p>
      </dgm:t>
    </dgm:pt>
    <dgm:pt modelId="{7C3EA5A1-5169-4D52-B74F-78CBDE3305B6}" type="parTrans" cxnId="{436BB400-6AB8-43B7-8AC3-D6772D805D6B}">
      <dgm:prSet/>
      <dgm:spPr/>
      <dgm:t>
        <a:bodyPr/>
        <a:lstStyle/>
        <a:p>
          <a:endParaRPr lang="en-US"/>
        </a:p>
      </dgm:t>
    </dgm:pt>
    <dgm:pt modelId="{00096AC9-2E24-4992-A75E-41036EB343EF}" type="sibTrans" cxnId="{436BB400-6AB8-43B7-8AC3-D6772D805D6B}">
      <dgm:prSet/>
      <dgm:spPr/>
      <dgm:t>
        <a:bodyPr/>
        <a:lstStyle/>
        <a:p>
          <a:endParaRPr lang="en-US"/>
        </a:p>
      </dgm:t>
    </dgm:pt>
    <dgm:pt modelId="{136A0AA8-EBF1-4D2D-A582-F5FCAECC752C}" type="pres">
      <dgm:prSet presAssocID="{AE2288F7-DF5B-4082-A712-BB7BB7590E5D}" presName="diagram" presStyleCnt="0">
        <dgm:presLayoutVars>
          <dgm:dir/>
          <dgm:resizeHandles val="exact"/>
        </dgm:presLayoutVars>
      </dgm:prSet>
      <dgm:spPr/>
    </dgm:pt>
    <dgm:pt modelId="{E80C573D-34B1-4358-AA4E-5EFA2414047B}" type="pres">
      <dgm:prSet presAssocID="{8F63086E-3385-4F5D-B24C-BF7DC5346ABB}" presName="node" presStyleLbl="node1" presStyleIdx="0" presStyleCnt="5">
        <dgm:presLayoutVars>
          <dgm:bulletEnabled val="1"/>
        </dgm:presLayoutVars>
      </dgm:prSet>
      <dgm:spPr/>
    </dgm:pt>
    <dgm:pt modelId="{0AC7A1FD-A96E-4C97-A67D-082DFD1453D6}" type="pres">
      <dgm:prSet presAssocID="{0CDBE963-A6CE-49D0-95C3-1216AD9291B4}" presName="sibTrans" presStyleLbl="sibTrans2D1" presStyleIdx="0" presStyleCnt="4"/>
      <dgm:spPr/>
    </dgm:pt>
    <dgm:pt modelId="{F63319BA-2CA4-4EC2-9C3F-832B8F54E4C5}" type="pres">
      <dgm:prSet presAssocID="{0CDBE963-A6CE-49D0-95C3-1216AD9291B4}" presName="connectorText" presStyleLbl="sibTrans2D1" presStyleIdx="0" presStyleCnt="4"/>
      <dgm:spPr/>
    </dgm:pt>
    <dgm:pt modelId="{0897747B-7424-41DA-A388-6DFFC2072DEE}" type="pres">
      <dgm:prSet presAssocID="{55565061-2270-488C-8464-6DFD21BD6E97}" presName="node" presStyleLbl="node1" presStyleIdx="1" presStyleCnt="5">
        <dgm:presLayoutVars>
          <dgm:bulletEnabled val="1"/>
        </dgm:presLayoutVars>
      </dgm:prSet>
      <dgm:spPr/>
    </dgm:pt>
    <dgm:pt modelId="{98371DF5-319C-4CA5-B2AC-637101843D9B}" type="pres">
      <dgm:prSet presAssocID="{CC2B1D16-4B6D-4EC0-B090-CE8B2C74BC15}" presName="sibTrans" presStyleLbl="sibTrans2D1" presStyleIdx="1" presStyleCnt="4"/>
      <dgm:spPr/>
    </dgm:pt>
    <dgm:pt modelId="{8F7FD644-F506-4C00-9C98-4F9DCC0CFE13}" type="pres">
      <dgm:prSet presAssocID="{CC2B1D16-4B6D-4EC0-B090-CE8B2C74BC15}" presName="connectorText" presStyleLbl="sibTrans2D1" presStyleIdx="1" presStyleCnt="4"/>
      <dgm:spPr/>
    </dgm:pt>
    <dgm:pt modelId="{291C2C19-BED8-4AD1-BD27-5BC3B7B60B93}" type="pres">
      <dgm:prSet presAssocID="{2E9F5771-B26B-448D-8937-16AA30B2FDBF}" presName="node" presStyleLbl="node1" presStyleIdx="2" presStyleCnt="5">
        <dgm:presLayoutVars>
          <dgm:bulletEnabled val="1"/>
        </dgm:presLayoutVars>
      </dgm:prSet>
      <dgm:spPr/>
    </dgm:pt>
    <dgm:pt modelId="{D9D2DB83-DAAE-4683-9155-7DEC28D526F2}" type="pres">
      <dgm:prSet presAssocID="{3EEF7299-496A-4FB4-BCFC-72ACCE3130B7}" presName="sibTrans" presStyleLbl="sibTrans2D1" presStyleIdx="2" presStyleCnt="4"/>
      <dgm:spPr/>
    </dgm:pt>
    <dgm:pt modelId="{582D9FCB-08AC-4863-997E-D0F696FA5D25}" type="pres">
      <dgm:prSet presAssocID="{3EEF7299-496A-4FB4-BCFC-72ACCE3130B7}" presName="connectorText" presStyleLbl="sibTrans2D1" presStyleIdx="2" presStyleCnt="4"/>
      <dgm:spPr/>
    </dgm:pt>
    <dgm:pt modelId="{C5DC7407-7790-4DFE-BD3F-09F06ADF199E}" type="pres">
      <dgm:prSet presAssocID="{7872C9B5-63CE-4223-8FBE-EBBBAF6649A7}" presName="node" presStyleLbl="node1" presStyleIdx="3" presStyleCnt="5">
        <dgm:presLayoutVars>
          <dgm:bulletEnabled val="1"/>
        </dgm:presLayoutVars>
      </dgm:prSet>
      <dgm:spPr/>
    </dgm:pt>
    <dgm:pt modelId="{46496C4C-D119-4309-BE99-CA36B7EB5046}" type="pres">
      <dgm:prSet presAssocID="{A7B74002-7D27-469F-9780-2FB9A9826A6C}" presName="sibTrans" presStyleLbl="sibTrans2D1" presStyleIdx="3" presStyleCnt="4"/>
      <dgm:spPr/>
    </dgm:pt>
    <dgm:pt modelId="{71082CB9-F5B5-4C68-BC13-4D7C3AE98F1D}" type="pres">
      <dgm:prSet presAssocID="{A7B74002-7D27-469F-9780-2FB9A9826A6C}" presName="connectorText" presStyleLbl="sibTrans2D1" presStyleIdx="3" presStyleCnt="4"/>
      <dgm:spPr/>
    </dgm:pt>
    <dgm:pt modelId="{3096631C-0991-4995-8688-2503C89EE5B8}" type="pres">
      <dgm:prSet presAssocID="{27AFD58E-F330-46A4-A9B3-DCC18144E2E2}" presName="node" presStyleLbl="node1" presStyleIdx="4" presStyleCnt="5">
        <dgm:presLayoutVars>
          <dgm:bulletEnabled val="1"/>
        </dgm:presLayoutVars>
      </dgm:prSet>
      <dgm:spPr/>
    </dgm:pt>
  </dgm:ptLst>
  <dgm:cxnLst>
    <dgm:cxn modelId="{436BB400-6AB8-43B7-8AC3-D6772D805D6B}" srcId="{27AFD58E-F330-46A4-A9B3-DCC18144E2E2}" destId="{2A0836E4-1944-4C58-808B-0AA43337603C}" srcOrd="1" destOrd="0" parTransId="{7C3EA5A1-5169-4D52-B74F-78CBDE3305B6}" sibTransId="{00096AC9-2E24-4992-A75E-41036EB343EF}"/>
    <dgm:cxn modelId="{E00A1401-7243-4D8A-8A34-9ECE798DF7E8}" type="presOf" srcId="{3EEF7299-496A-4FB4-BCFC-72ACCE3130B7}" destId="{582D9FCB-08AC-4863-997E-D0F696FA5D25}" srcOrd="1" destOrd="0" presId="urn:microsoft.com/office/officeart/2005/8/layout/process5"/>
    <dgm:cxn modelId="{DCE70C20-BCE2-4124-9B1D-48CB1B5F95FA}" type="presOf" srcId="{2A0836E4-1944-4C58-808B-0AA43337603C}" destId="{3096631C-0991-4995-8688-2503C89EE5B8}" srcOrd="0" destOrd="2" presId="urn:microsoft.com/office/officeart/2005/8/layout/process5"/>
    <dgm:cxn modelId="{E43EF82A-7A1A-432B-A480-7AECE223DE40}" type="presOf" srcId="{A7B74002-7D27-469F-9780-2FB9A9826A6C}" destId="{71082CB9-F5B5-4C68-BC13-4D7C3AE98F1D}" srcOrd="1" destOrd="0" presId="urn:microsoft.com/office/officeart/2005/8/layout/process5"/>
    <dgm:cxn modelId="{5FDB5839-4803-4A12-A4BF-A9BF730D3457}" srcId="{AE2288F7-DF5B-4082-A712-BB7BB7590E5D}" destId="{7872C9B5-63CE-4223-8FBE-EBBBAF6649A7}" srcOrd="3" destOrd="0" parTransId="{762D4BE5-51CE-4543-8AA1-8975F265F6D8}" sibTransId="{A7B74002-7D27-469F-9780-2FB9A9826A6C}"/>
    <dgm:cxn modelId="{00E17845-1BEF-4C41-8C2B-620EBA7B624F}" type="presOf" srcId="{A7B74002-7D27-469F-9780-2FB9A9826A6C}" destId="{46496C4C-D119-4309-BE99-CA36B7EB5046}" srcOrd="0" destOrd="0" presId="urn:microsoft.com/office/officeart/2005/8/layout/process5"/>
    <dgm:cxn modelId="{DD34BB6E-ECF5-4F2C-923C-323BA5C863FE}" type="presOf" srcId="{2E9F5771-B26B-448D-8937-16AA30B2FDBF}" destId="{291C2C19-BED8-4AD1-BD27-5BC3B7B60B93}" srcOrd="0" destOrd="0" presId="urn:microsoft.com/office/officeart/2005/8/layout/process5"/>
    <dgm:cxn modelId="{76E07B82-4713-4D76-9B52-4097F048B3A3}" srcId="{27AFD58E-F330-46A4-A9B3-DCC18144E2E2}" destId="{74266BD0-D640-48D7-8D80-1E564CE3E0C2}" srcOrd="0" destOrd="0" parTransId="{86E1BF6C-DCD5-4BA3-9E6A-2C628A4BEDC7}" sibTransId="{EBD8AF03-12E4-483B-8FD1-D48EE52F5E3A}"/>
    <dgm:cxn modelId="{A8F9D286-5144-4D70-AB81-76BF7D2AB7CA}" srcId="{AE2288F7-DF5B-4082-A712-BB7BB7590E5D}" destId="{8F63086E-3385-4F5D-B24C-BF7DC5346ABB}" srcOrd="0" destOrd="0" parTransId="{D58C90E4-5A8E-4A2F-B40D-DC62F697F125}" sibTransId="{0CDBE963-A6CE-49D0-95C3-1216AD9291B4}"/>
    <dgm:cxn modelId="{DC151993-B31B-405E-8AB7-259D0DC5E71C}" type="presOf" srcId="{74266BD0-D640-48D7-8D80-1E564CE3E0C2}" destId="{3096631C-0991-4995-8688-2503C89EE5B8}" srcOrd="0" destOrd="1" presId="urn:microsoft.com/office/officeart/2005/8/layout/process5"/>
    <dgm:cxn modelId="{D7811A93-D8BE-48C1-93F9-C69D080D3333}" type="presOf" srcId="{27AFD58E-F330-46A4-A9B3-DCC18144E2E2}" destId="{3096631C-0991-4995-8688-2503C89EE5B8}" srcOrd="0" destOrd="0" presId="urn:microsoft.com/office/officeart/2005/8/layout/process5"/>
    <dgm:cxn modelId="{240F02A0-67E6-422B-9ED7-76057AA565EE}" srcId="{AE2288F7-DF5B-4082-A712-BB7BB7590E5D}" destId="{55565061-2270-488C-8464-6DFD21BD6E97}" srcOrd="1" destOrd="0" parTransId="{9397FF83-18D9-4A8A-A95F-BD3BE8F6B3F0}" sibTransId="{CC2B1D16-4B6D-4EC0-B090-CE8B2C74BC15}"/>
    <dgm:cxn modelId="{3B054DA0-7A51-4B7E-8641-88190057A7FF}" type="presOf" srcId="{3EEF7299-496A-4FB4-BCFC-72ACCE3130B7}" destId="{D9D2DB83-DAAE-4683-9155-7DEC28D526F2}" srcOrd="0" destOrd="0" presId="urn:microsoft.com/office/officeart/2005/8/layout/process5"/>
    <dgm:cxn modelId="{AAAE66BA-7BBB-495C-A565-86C4842CE20F}" type="presOf" srcId="{AE2288F7-DF5B-4082-A712-BB7BB7590E5D}" destId="{136A0AA8-EBF1-4D2D-A582-F5FCAECC752C}" srcOrd="0" destOrd="0" presId="urn:microsoft.com/office/officeart/2005/8/layout/process5"/>
    <dgm:cxn modelId="{E0F5DBBD-71F6-45E0-A5C1-02702FA06EEA}" type="presOf" srcId="{7872C9B5-63CE-4223-8FBE-EBBBAF6649A7}" destId="{C5DC7407-7790-4DFE-BD3F-09F06ADF199E}" srcOrd="0" destOrd="0" presId="urn:microsoft.com/office/officeart/2005/8/layout/process5"/>
    <dgm:cxn modelId="{BFB58DDA-9207-4412-8A13-AD7968C05541}" type="presOf" srcId="{8F63086E-3385-4F5D-B24C-BF7DC5346ABB}" destId="{E80C573D-34B1-4358-AA4E-5EFA2414047B}" srcOrd="0" destOrd="0" presId="urn:microsoft.com/office/officeart/2005/8/layout/process5"/>
    <dgm:cxn modelId="{0573CADC-5420-4A92-96C8-7785D13D0AC7}" type="presOf" srcId="{55565061-2270-488C-8464-6DFD21BD6E97}" destId="{0897747B-7424-41DA-A388-6DFFC2072DEE}" srcOrd="0" destOrd="0" presId="urn:microsoft.com/office/officeart/2005/8/layout/process5"/>
    <dgm:cxn modelId="{43E53CDD-67E3-478F-A16D-F2482D12CBB5}" type="presOf" srcId="{CC2B1D16-4B6D-4EC0-B090-CE8B2C74BC15}" destId="{98371DF5-319C-4CA5-B2AC-637101843D9B}" srcOrd="0" destOrd="0" presId="urn:microsoft.com/office/officeart/2005/8/layout/process5"/>
    <dgm:cxn modelId="{153FCFDF-4C10-46FB-A0A1-F1E675F6C7DE}" type="presOf" srcId="{0CDBE963-A6CE-49D0-95C3-1216AD9291B4}" destId="{0AC7A1FD-A96E-4C97-A67D-082DFD1453D6}" srcOrd="0" destOrd="0" presId="urn:microsoft.com/office/officeart/2005/8/layout/process5"/>
    <dgm:cxn modelId="{9EBC9CE2-D429-4A38-8211-AC13F8FD0111}" srcId="{AE2288F7-DF5B-4082-A712-BB7BB7590E5D}" destId="{2E9F5771-B26B-448D-8937-16AA30B2FDBF}" srcOrd="2" destOrd="0" parTransId="{3929ADF2-A147-460E-813A-B0CBB787B0EA}" sibTransId="{3EEF7299-496A-4FB4-BCFC-72ACCE3130B7}"/>
    <dgm:cxn modelId="{44EDA4EA-EC2A-4D26-8A2C-93A18D10F769}" type="presOf" srcId="{CC2B1D16-4B6D-4EC0-B090-CE8B2C74BC15}" destId="{8F7FD644-F506-4C00-9C98-4F9DCC0CFE13}" srcOrd="1" destOrd="0" presId="urn:microsoft.com/office/officeart/2005/8/layout/process5"/>
    <dgm:cxn modelId="{0CF901F5-BA0A-4416-8E2E-7347CFC025B6}" srcId="{AE2288F7-DF5B-4082-A712-BB7BB7590E5D}" destId="{27AFD58E-F330-46A4-A9B3-DCC18144E2E2}" srcOrd="4" destOrd="0" parTransId="{D76F3992-8CC9-4098-B778-CDCD477198D7}" sibTransId="{8EF2E8C6-6B87-461E-8E3D-3970A65A85FF}"/>
    <dgm:cxn modelId="{8494DBF6-0736-40F7-A7B2-CC2C7C45A761}" type="presOf" srcId="{0CDBE963-A6CE-49D0-95C3-1216AD9291B4}" destId="{F63319BA-2CA4-4EC2-9C3F-832B8F54E4C5}" srcOrd="1" destOrd="0" presId="urn:microsoft.com/office/officeart/2005/8/layout/process5"/>
    <dgm:cxn modelId="{BC2044D3-2445-4BA9-B701-46AABBBE29C0}" type="presParOf" srcId="{136A0AA8-EBF1-4D2D-A582-F5FCAECC752C}" destId="{E80C573D-34B1-4358-AA4E-5EFA2414047B}" srcOrd="0" destOrd="0" presId="urn:microsoft.com/office/officeart/2005/8/layout/process5"/>
    <dgm:cxn modelId="{ABF355AD-EC6A-4844-B2C5-3963F196DED9}" type="presParOf" srcId="{136A0AA8-EBF1-4D2D-A582-F5FCAECC752C}" destId="{0AC7A1FD-A96E-4C97-A67D-082DFD1453D6}" srcOrd="1" destOrd="0" presId="urn:microsoft.com/office/officeart/2005/8/layout/process5"/>
    <dgm:cxn modelId="{E5A01FA2-4406-44E6-878A-62DED13EC9A1}" type="presParOf" srcId="{0AC7A1FD-A96E-4C97-A67D-082DFD1453D6}" destId="{F63319BA-2CA4-4EC2-9C3F-832B8F54E4C5}" srcOrd="0" destOrd="0" presId="urn:microsoft.com/office/officeart/2005/8/layout/process5"/>
    <dgm:cxn modelId="{12C18C08-B255-4EE3-B542-64DC16244C23}" type="presParOf" srcId="{136A0AA8-EBF1-4D2D-A582-F5FCAECC752C}" destId="{0897747B-7424-41DA-A388-6DFFC2072DEE}" srcOrd="2" destOrd="0" presId="urn:microsoft.com/office/officeart/2005/8/layout/process5"/>
    <dgm:cxn modelId="{43B5B0A4-E0D3-4942-81A2-B36CD4C1B8BC}" type="presParOf" srcId="{136A0AA8-EBF1-4D2D-A582-F5FCAECC752C}" destId="{98371DF5-319C-4CA5-B2AC-637101843D9B}" srcOrd="3" destOrd="0" presId="urn:microsoft.com/office/officeart/2005/8/layout/process5"/>
    <dgm:cxn modelId="{CE0349D4-56DF-4D8D-A179-3B6F4B77F8AE}" type="presParOf" srcId="{98371DF5-319C-4CA5-B2AC-637101843D9B}" destId="{8F7FD644-F506-4C00-9C98-4F9DCC0CFE13}" srcOrd="0" destOrd="0" presId="urn:microsoft.com/office/officeart/2005/8/layout/process5"/>
    <dgm:cxn modelId="{E7182EEB-DCC5-49A1-A9D3-8D90FF33C3BC}" type="presParOf" srcId="{136A0AA8-EBF1-4D2D-A582-F5FCAECC752C}" destId="{291C2C19-BED8-4AD1-BD27-5BC3B7B60B93}" srcOrd="4" destOrd="0" presId="urn:microsoft.com/office/officeart/2005/8/layout/process5"/>
    <dgm:cxn modelId="{674D2AA9-422B-4D41-A212-C21BE69467DF}" type="presParOf" srcId="{136A0AA8-EBF1-4D2D-A582-F5FCAECC752C}" destId="{D9D2DB83-DAAE-4683-9155-7DEC28D526F2}" srcOrd="5" destOrd="0" presId="urn:microsoft.com/office/officeart/2005/8/layout/process5"/>
    <dgm:cxn modelId="{E3E1C5E9-59FD-40A2-ACCC-08BC4FED2F23}" type="presParOf" srcId="{D9D2DB83-DAAE-4683-9155-7DEC28D526F2}" destId="{582D9FCB-08AC-4863-997E-D0F696FA5D25}" srcOrd="0" destOrd="0" presId="urn:microsoft.com/office/officeart/2005/8/layout/process5"/>
    <dgm:cxn modelId="{C2134924-3911-473A-B96C-178509E30BC7}" type="presParOf" srcId="{136A0AA8-EBF1-4D2D-A582-F5FCAECC752C}" destId="{C5DC7407-7790-4DFE-BD3F-09F06ADF199E}" srcOrd="6" destOrd="0" presId="urn:microsoft.com/office/officeart/2005/8/layout/process5"/>
    <dgm:cxn modelId="{DB72E7B8-23F1-495A-842C-C5907EB6F113}" type="presParOf" srcId="{136A0AA8-EBF1-4D2D-A582-F5FCAECC752C}" destId="{46496C4C-D119-4309-BE99-CA36B7EB5046}" srcOrd="7" destOrd="0" presId="urn:microsoft.com/office/officeart/2005/8/layout/process5"/>
    <dgm:cxn modelId="{88628128-D0B9-4EBE-BAA0-9A34402CEE3E}" type="presParOf" srcId="{46496C4C-D119-4309-BE99-CA36B7EB5046}" destId="{71082CB9-F5B5-4C68-BC13-4D7C3AE98F1D}" srcOrd="0" destOrd="0" presId="urn:microsoft.com/office/officeart/2005/8/layout/process5"/>
    <dgm:cxn modelId="{76FCDC46-3ECD-4F68-8C31-A55163834C5B}" type="presParOf" srcId="{136A0AA8-EBF1-4D2D-A582-F5FCAECC752C}" destId="{3096631C-0991-4995-8688-2503C89EE5B8}" srcOrd="8"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9E0C74E-B03A-4AEE-B205-2B1378E50384}" type="doc">
      <dgm:prSet loTypeId="urn:microsoft.com/office/officeart/2005/8/layout/bProcess3" loCatId="process" qsTypeId="urn:microsoft.com/office/officeart/2005/8/quickstyle/simple2" qsCatId="simple" csTypeId="urn:microsoft.com/office/officeart/2005/8/colors/accent1_2" csCatId="accent1" phldr="1"/>
      <dgm:spPr/>
      <dgm:t>
        <a:bodyPr/>
        <a:lstStyle/>
        <a:p>
          <a:endParaRPr lang="en-US"/>
        </a:p>
      </dgm:t>
    </dgm:pt>
    <dgm:pt modelId="{5036DA79-6B82-4AB3-BE2C-CC9B6E88E0DA}">
      <dgm:prSet/>
      <dgm:spPr/>
      <dgm:t>
        <a:bodyPr/>
        <a:lstStyle/>
        <a:p>
          <a:r>
            <a:rPr lang="en-US" baseline="0"/>
            <a:t>Queries that are constantly being recompiled but end up with the same query execution plan</a:t>
          </a:r>
          <a:endParaRPr lang="en-US"/>
        </a:p>
      </dgm:t>
    </dgm:pt>
    <dgm:pt modelId="{A041B988-06AE-49FE-9AC4-A4735D7949B5}" type="parTrans" cxnId="{F77EDBC8-AA51-44A2-9A4B-06188942D524}">
      <dgm:prSet/>
      <dgm:spPr/>
      <dgm:t>
        <a:bodyPr/>
        <a:lstStyle/>
        <a:p>
          <a:endParaRPr lang="en-US" sz="2000"/>
        </a:p>
      </dgm:t>
    </dgm:pt>
    <dgm:pt modelId="{FB38222B-9438-48B3-BCFF-BF297D451B9E}" type="sibTrans" cxnId="{F77EDBC8-AA51-44A2-9A4B-06188942D524}">
      <dgm:prSet/>
      <dgm:spPr/>
      <dgm:t>
        <a:bodyPr/>
        <a:lstStyle/>
        <a:p>
          <a:endParaRPr lang="en-US"/>
        </a:p>
      </dgm:t>
    </dgm:pt>
    <dgm:pt modelId="{E385A4C2-47F8-476B-A617-FED2514F4094}">
      <dgm:prSet/>
      <dgm:spPr/>
      <dgm:t>
        <a:bodyPr/>
        <a:lstStyle/>
        <a:p>
          <a:r>
            <a:rPr lang="nl-BE" baseline="0"/>
            <a:t>Forced parameterization</a:t>
          </a:r>
          <a:endParaRPr lang="en-US"/>
        </a:p>
      </dgm:t>
    </dgm:pt>
    <dgm:pt modelId="{10D0E3E6-96C3-48D2-8F4B-0727EBC97C8A}" type="parTrans" cxnId="{E378C709-35AB-4DD2-8226-4BB4DAFBAF89}">
      <dgm:prSet/>
      <dgm:spPr/>
      <dgm:t>
        <a:bodyPr/>
        <a:lstStyle/>
        <a:p>
          <a:endParaRPr lang="en-US" sz="2000"/>
        </a:p>
      </dgm:t>
    </dgm:pt>
    <dgm:pt modelId="{2A4A9860-0FAA-4954-9A54-9762B83AC5C5}" type="sibTrans" cxnId="{E378C709-35AB-4DD2-8226-4BB4DAFBAF89}">
      <dgm:prSet/>
      <dgm:spPr/>
      <dgm:t>
        <a:bodyPr/>
        <a:lstStyle/>
        <a:p>
          <a:endParaRPr lang="en-US"/>
        </a:p>
      </dgm:t>
    </dgm:pt>
    <dgm:pt modelId="{3BCE1CE5-8324-4965-9AD1-93B397A1AB03}">
      <dgm:prSet/>
      <dgm:spPr/>
      <dgm:t>
        <a:bodyPr/>
        <a:lstStyle/>
        <a:p>
          <a:r>
            <a:rPr lang="en-US" baseline="0"/>
            <a:t>Apply the recommendation</a:t>
          </a:r>
          <a:endParaRPr lang="en-US"/>
        </a:p>
      </dgm:t>
    </dgm:pt>
    <dgm:pt modelId="{401ABB71-CF9D-4A1A-B454-4A38592338B7}" type="parTrans" cxnId="{078C8A69-7058-4E13-AA8E-BCCB3BBF4683}">
      <dgm:prSet/>
      <dgm:spPr/>
      <dgm:t>
        <a:bodyPr/>
        <a:lstStyle/>
        <a:p>
          <a:endParaRPr lang="en-US" sz="2000"/>
        </a:p>
      </dgm:t>
    </dgm:pt>
    <dgm:pt modelId="{F48CF607-39FA-4D63-91FF-18205F369B8E}" type="sibTrans" cxnId="{078C8A69-7058-4E13-AA8E-BCCB3BBF4683}">
      <dgm:prSet/>
      <dgm:spPr/>
      <dgm:t>
        <a:bodyPr/>
        <a:lstStyle/>
        <a:p>
          <a:endParaRPr lang="en-US"/>
        </a:p>
      </dgm:t>
    </dgm:pt>
    <dgm:pt modelId="{1B77E63E-7A2F-437D-8C3C-FC615CAB4432}">
      <dgm:prSet/>
      <dgm:spPr/>
      <dgm:t>
        <a:bodyPr/>
        <a:lstStyle/>
        <a:p>
          <a:r>
            <a:rPr lang="en-US" baseline="0"/>
            <a:t>Compare the performance with the baseline</a:t>
          </a:r>
          <a:endParaRPr lang="en-US"/>
        </a:p>
      </dgm:t>
    </dgm:pt>
    <dgm:pt modelId="{D5D9362C-442D-4677-A4E9-EA29F663C7F3}" type="parTrans" cxnId="{BD59CC64-884B-4EE3-A707-9971AC207D36}">
      <dgm:prSet/>
      <dgm:spPr/>
      <dgm:t>
        <a:bodyPr/>
        <a:lstStyle/>
        <a:p>
          <a:endParaRPr lang="en-US" sz="2000"/>
        </a:p>
      </dgm:t>
    </dgm:pt>
    <dgm:pt modelId="{043ACA03-E205-4FD1-9D3E-5D531DB4A24A}" type="sibTrans" cxnId="{BD59CC64-884B-4EE3-A707-9971AC207D36}">
      <dgm:prSet/>
      <dgm:spPr/>
      <dgm:t>
        <a:bodyPr/>
        <a:lstStyle/>
        <a:p>
          <a:endParaRPr lang="en-US"/>
        </a:p>
      </dgm:t>
    </dgm:pt>
    <dgm:pt modelId="{313ECD73-CB2E-4BBB-B217-2FC3A3F80266}">
      <dgm:prSet/>
      <dgm:spPr/>
      <dgm:t>
        <a:bodyPr/>
        <a:lstStyle/>
        <a:p>
          <a:r>
            <a:rPr lang="en-US" sz="2000" baseline="0" dirty="0"/>
            <a:t>If performance improved?</a:t>
          </a:r>
          <a:endParaRPr lang="en-US" sz="2000" dirty="0"/>
        </a:p>
      </dgm:t>
    </dgm:pt>
    <dgm:pt modelId="{BEECAC44-997E-4A0C-862C-912FDBAE9794}" type="parTrans" cxnId="{BA7F9983-35FA-45B8-8FD6-BAC881E4A120}">
      <dgm:prSet/>
      <dgm:spPr/>
      <dgm:t>
        <a:bodyPr/>
        <a:lstStyle/>
        <a:p>
          <a:endParaRPr lang="en-US" sz="2000"/>
        </a:p>
      </dgm:t>
    </dgm:pt>
    <dgm:pt modelId="{4343FACB-099A-4104-8B79-52BEC9C1C999}" type="sibTrans" cxnId="{BA7F9983-35FA-45B8-8FD6-BAC881E4A120}">
      <dgm:prSet/>
      <dgm:spPr/>
      <dgm:t>
        <a:bodyPr/>
        <a:lstStyle/>
        <a:p>
          <a:endParaRPr lang="en-US"/>
        </a:p>
      </dgm:t>
    </dgm:pt>
    <dgm:pt modelId="{55C78A7D-DDF3-49D8-8395-FDDFEBD587D7}">
      <dgm:prSet custT="1"/>
      <dgm:spPr/>
      <dgm:t>
        <a:bodyPr/>
        <a:lstStyle/>
        <a:p>
          <a:r>
            <a:rPr lang="en-US" sz="1800" baseline="0" dirty="0"/>
            <a:t>Revert OR</a:t>
          </a:r>
          <a:endParaRPr lang="en-US" sz="1800" dirty="0"/>
        </a:p>
      </dgm:t>
    </dgm:pt>
    <dgm:pt modelId="{FA336D78-C555-48B2-B821-EF8199778819}" type="parTrans" cxnId="{015719AD-8340-4E85-AEC7-6DD2ECF7B566}">
      <dgm:prSet/>
      <dgm:spPr/>
      <dgm:t>
        <a:bodyPr/>
        <a:lstStyle/>
        <a:p>
          <a:endParaRPr lang="en-US" sz="2000"/>
        </a:p>
      </dgm:t>
    </dgm:pt>
    <dgm:pt modelId="{DAFF3DDD-540F-4163-B609-39E132870915}" type="sibTrans" cxnId="{015719AD-8340-4E85-AEC7-6DD2ECF7B566}">
      <dgm:prSet/>
      <dgm:spPr/>
      <dgm:t>
        <a:bodyPr/>
        <a:lstStyle/>
        <a:p>
          <a:endParaRPr lang="en-US"/>
        </a:p>
      </dgm:t>
    </dgm:pt>
    <dgm:pt modelId="{3A49689C-9167-4FD8-AC82-7E19DD5FB99F}">
      <dgm:prSet custT="1"/>
      <dgm:spPr/>
      <dgm:t>
        <a:bodyPr/>
        <a:lstStyle/>
        <a:p>
          <a:r>
            <a:rPr lang="en-US" sz="1800" baseline="0" dirty="0"/>
            <a:t>Flagged as successful</a:t>
          </a:r>
          <a:endParaRPr lang="en-US" sz="1800" dirty="0"/>
        </a:p>
      </dgm:t>
    </dgm:pt>
    <dgm:pt modelId="{B5FE3F66-AEB3-4D9C-8EB4-56C4866A6A8B}" type="parTrans" cxnId="{5F20BCC2-EA81-4BF6-984E-C87254AE84C5}">
      <dgm:prSet/>
      <dgm:spPr/>
      <dgm:t>
        <a:bodyPr/>
        <a:lstStyle/>
        <a:p>
          <a:endParaRPr lang="en-US" sz="2000"/>
        </a:p>
      </dgm:t>
    </dgm:pt>
    <dgm:pt modelId="{14D32C0D-8757-4FF2-B9F2-1E0612D3A9D9}" type="sibTrans" cxnId="{5F20BCC2-EA81-4BF6-984E-C87254AE84C5}">
      <dgm:prSet/>
      <dgm:spPr/>
      <dgm:t>
        <a:bodyPr/>
        <a:lstStyle/>
        <a:p>
          <a:endParaRPr lang="en-US"/>
        </a:p>
      </dgm:t>
    </dgm:pt>
    <dgm:pt modelId="{E16D9A5E-F37E-4DB3-8DFE-43A057CBA3E0}" type="pres">
      <dgm:prSet presAssocID="{79E0C74E-B03A-4AEE-B205-2B1378E50384}" presName="Name0" presStyleCnt="0">
        <dgm:presLayoutVars>
          <dgm:dir/>
          <dgm:resizeHandles val="exact"/>
        </dgm:presLayoutVars>
      </dgm:prSet>
      <dgm:spPr/>
    </dgm:pt>
    <dgm:pt modelId="{0A0BE8D9-0712-4B1B-9797-EAC0DF3972BD}" type="pres">
      <dgm:prSet presAssocID="{5036DA79-6B82-4AB3-BE2C-CC9B6E88E0DA}" presName="node" presStyleLbl="node1" presStyleIdx="0" presStyleCnt="5">
        <dgm:presLayoutVars>
          <dgm:bulletEnabled val="1"/>
        </dgm:presLayoutVars>
      </dgm:prSet>
      <dgm:spPr/>
    </dgm:pt>
    <dgm:pt modelId="{074E1059-290A-4E86-A943-EC531EFB99FF}" type="pres">
      <dgm:prSet presAssocID="{FB38222B-9438-48B3-BCFF-BF297D451B9E}" presName="sibTrans" presStyleLbl="sibTrans1D1" presStyleIdx="0" presStyleCnt="4"/>
      <dgm:spPr/>
    </dgm:pt>
    <dgm:pt modelId="{2FEB3C8B-6419-4FF6-8228-8B9DFA507618}" type="pres">
      <dgm:prSet presAssocID="{FB38222B-9438-48B3-BCFF-BF297D451B9E}" presName="connectorText" presStyleLbl="sibTrans1D1" presStyleIdx="0" presStyleCnt="4"/>
      <dgm:spPr/>
    </dgm:pt>
    <dgm:pt modelId="{965C4AEE-251E-41ED-A257-B8E2CB0DE436}" type="pres">
      <dgm:prSet presAssocID="{E385A4C2-47F8-476B-A617-FED2514F4094}" presName="node" presStyleLbl="node1" presStyleIdx="1" presStyleCnt="5">
        <dgm:presLayoutVars>
          <dgm:bulletEnabled val="1"/>
        </dgm:presLayoutVars>
      </dgm:prSet>
      <dgm:spPr/>
    </dgm:pt>
    <dgm:pt modelId="{B57882D5-6002-4E3A-B21F-E3A8FF97023E}" type="pres">
      <dgm:prSet presAssocID="{2A4A9860-0FAA-4954-9A54-9762B83AC5C5}" presName="sibTrans" presStyleLbl="sibTrans1D1" presStyleIdx="1" presStyleCnt="4"/>
      <dgm:spPr/>
    </dgm:pt>
    <dgm:pt modelId="{08F267D5-DFA8-4EC1-B714-136AB925B82D}" type="pres">
      <dgm:prSet presAssocID="{2A4A9860-0FAA-4954-9A54-9762B83AC5C5}" presName="connectorText" presStyleLbl="sibTrans1D1" presStyleIdx="1" presStyleCnt="4"/>
      <dgm:spPr/>
    </dgm:pt>
    <dgm:pt modelId="{31279DE9-3708-423A-BA93-92C72BD200F5}" type="pres">
      <dgm:prSet presAssocID="{3BCE1CE5-8324-4965-9AD1-93B397A1AB03}" presName="node" presStyleLbl="node1" presStyleIdx="2" presStyleCnt="5">
        <dgm:presLayoutVars>
          <dgm:bulletEnabled val="1"/>
        </dgm:presLayoutVars>
      </dgm:prSet>
      <dgm:spPr/>
    </dgm:pt>
    <dgm:pt modelId="{A717592F-E413-44B9-B6AF-23F2D1E50026}" type="pres">
      <dgm:prSet presAssocID="{F48CF607-39FA-4D63-91FF-18205F369B8E}" presName="sibTrans" presStyleLbl="sibTrans1D1" presStyleIdx="2" presStyleCnt="4"/>
      <dgm:spPr/>
    </dgm:pt>
    <dgm:pt modelId="{09B4D4BC-D600-4B2F-81FE-767D063EDF88}" type="pres">
      <dgm:prSet presAssocID="{F48CF607-39FA-4D63-91FF-18205F369B8E}" presName="connectorText" presStyleLbl="sibTrans1D1" presStyleIdx="2" presStyleCnt="4"/>
      <dgm:spPr/>
    </dgm:pt>
    <dgm:pt modelId="{98E41D80-8538-4E6F-824B-D26272E2BEC9}" type="pres">
      <dgm:prSet presAssocID="{1B77E63E-7A2F-437D-8C3C-FC615CAB4432}" presName="node" presStyleLbl="node1" presStyleIdx="3" presStyleCnt="5">
        <dgm:presLayoutVars>
          <dgm:bulletEnabled val="1"/>
        </dgm:presLayoutVars>
      </dgm:prSet>
      <dgm:spPr/>
    </dgm:pt>
    <dgm:pt modelId="{6E92A483-1B00-4934-A975-AE36164B82C1}" type="pres">
      <dgm:prSet presAssocID="{043ACA03-E205-4FD1-9D3E-5D531DB4A24A}" presName="sibTrans" presStyleLbl="sibTrans1D1" presStyleIdx="3" presStyleCnt="4"/>
      <dgm:spPr/>
    </dgm:pt>
    <dgm:pt modelId="{0FDD5AD3-59A7-4A1D-AB7A-77977BCADCBE}" type="pres">
      <dgm:prSet presAssocID="{043ACA03-E205-4FD1-9D3E-5D531DB4A24A}" presName="connectorText" presStyleLbl="sibTrans1D1" presStyleIdx="3" presStyleCnt="4"/>
      <dgm:spPr/>
    </dgm:pt>
    <dgm:pt modelId="{8D85E95D-29B1-43CD-A02D-CFB4E94F0E31}" type="pres">
      <dgm:prSet presAssocID="{313ECD73-CB2E-4BBB-B217-2FC3A3F80266}" presName="node" presStyleLbl="node1" presStyleIdx="4" presStyleCnt="5">
        <dgm:presLayoutVars>
          <dgm:bulletEnabled val="1"/>
        </dgm:presLayoutVars>
      </dgm:prSet>
      <dgm:spPr/>
    </dgm:pt>
  </dgm:ptLst>
  <dgm:cxnLst>
    <dgm:cxn modelId="{E378C709-35AB-4DD2-8226-4BB4DAFBAF89}" srcId="{79E0C74E-B03A-4AEE-B205-2B1378E50384}" destId="{E385A4C2-47F8-476B-A617-FED2514F4094}" srcOrd="1" destOrd="0" parTransId="{10D0E3E6-96C3-48D2-8F4B-0727EBC97C8A}" sibTransId="{2A4A9860-0FAA-4954-9A54-9762B83AC5C5}"/>
    <dgm:cxn modelId="{40553514-D827-4FA2-AEE5-3F9F0C435B65}" type="presOf" srcId="{55C78A7D-DDF3-49D8-8395-FDDFEBD587D7}" destId="{8D85E95D-29B1-43CD-A02D-CFB4E94F0E31}" srcOrd="0" destOrd="1" presId="urn:microsoft.com/office/officeart/2005/8/layout/bProcess3"/>
    <dgm:cxn modelId="{918D621F-DD8D-4747-B618-B04A72A20385}" type="presOf" srcId="{2A4A9860-0FAA-4954-9A54-9762B83AC5C5}" destId="{08F267D5-DFA8-4EC1-B714-136AB925B82D}" srcOrd="1" destOrd="0" presId="urn:microsoft.com/office/officeart/2005/8/layout/bProcess3"/>
    <dgm:cxn modelId="{4604FD2C-3928-49AE-81FC-95020A8A9344}" type="presOf" srcId="{E385A4C2-47F8-476B-A617-FED2514F4094}" destId="{965C4AEE-251E-41ED-A257-B8E2CB0DE436}" srcOrd="0" destOrd="0" presId="urn:microsoft.com/office/officeart/2005/8/layout/bProcess3"/>
    <dgm:cxn modelId="{21B6905D-AF39-4A0B-891B-9DE8818F11F9}" type="presOf" srcId="{2A4A9860-0FAA-4954-9A54-9762B83AC5C5}" destId="{B57882D5-6002-4E3A-B21F-E3A8FF97023E}" srcOrd="0" destOrd="0" presId="urn:microsoft.com/office/officeart/2005/8/layout/bProcess3"/>
    <dgm:cxn modelId="{BD59CC64-884B-4EE3-A707-9971AC207D36}" srcId="{79E0C74E-B03A-4AEE-B205-2B1378E50384}" destId="{1B77E63E-7A2F-437D-8C3C-FC615CAB4432}" srcOrd="3" destOrd="0" parTransId="{D5D9362C-442D-4677-A4E9-EA29F663C7F3}" sibTransId="{043ACA03-E205-4FD1-9D3E-5D531DB4A24A}"/>
    <dgm:cxn modelId="{078C8A69-7058-4E13-AA8E-BCCB3BBF4683}" srcId="{79E0C74E-B03A-4AEE-B205-2B1378E50384}" destId="{3BCE1CE5-8324-4965-9AD1-93B397A1AB03}" srcOrd="2" destOrd="0" parTransId="{401ABB71-CF9D-4A1A-B454-4A38592338B7}" sibTransId="{F48CF607-39FA-4D63-91FF-18205F369B8E}"/>
    <dgm:cxn modelId="{7509346A-D2D3-48C1-BDA9-FDC1B7A77569}" type="presOf" srcId="{043ACA03-E205-4FD1-9D3E-5D531DB4A24A}" destId="{6E92A483-1B00-4934-A975-AE36164B82C1}" srcOrd="0" destOrd="0" presId="urn:microsoft.com/office/officeart/2005/8/layout/bProcess3"/>
    <dgm:cxn modelId="{3818C96D-09FC-4C66-BFD0-E5214163D6F9}" type="presOf" srcId="{1B77E63E-7A2F-437D-8C3C-FC615CAB4432}" destId="{98E41D80-8538-4E6F-824B-D26272E2BEC9}" srcOrd="0" destOrd="0" presId="urn:microsoft.com/office/officeart/2005/8/layout/bProcess3"/>
    <dgm:cxn modelId="{BA7F9983-35FA-45B8-8FD6-BAC881E4A120}" srcId="{79E0C74E-B03A-4AEE-B205-2B1378E50384}" destId="{313ECD73-CB2E-4BBB-B217-2FC3A3F80266}" srcOrd="4" destOrd="0" parTransId="{BEECAC44-997E-4A0C-862C-912FDBAE9794}" sibTransId="{4343FACB-099A-4104-8B79-52BEC9C1C999}"/>
    <dgm:cxn modelId="{C7FEC983-462E-4C30-BC7C-B0219C8E64A0}" type="presOf" srcId="{5036DA79-6B82-4AB3-BE2C-CC9B6E88E0DA}" destId="{0A0BE8D9-0712-4B1B-9797-EAC0DF3972BD}" srcOrd="0" destOrd="0" presId="urn:microsoft.com/office/officeart/2005/8/layout/bProcess3"/>
    <dgm:cxn modelId="{0E46DC85-086A-4469-9C5B-2B797A4E91FA}" type="presOf" srcId="{3BCE1CE5-8324-4965-9AD1-93B397A1AB03}" destId="{31279DE9-3708-423A-BA93-92C72BD200F5}" srcOrd="0" destOrd="0" presId="urn:microsoft.com/office/officeart/2005/8/layout/bProcess3"/>
    <dgm:cxn modelId="{70BCF68B-DFA7-4D4D-A62A-97C5E273326A}" type="presOf" srcId="{FB38222B-9438-48B3-BCFF-BF297D451B9E}" destId="{2FEB3C8B-6419-4FF6-8228-8B9DFA507618}" srcOrd="1" destOrd="0" presId="urn:microsoft.com/office/officeart/2005/8/layout/bProcess3"/>
    <dgm:cxn modelId="{57D0858F-CCBC-494D-B42E-115A7824417E}" type="presOf" srcId="{79E0C74E-B03A-4AEE-B205-2B1378E50384}" destId="{E16D9A5E-F37E-4DB3-8DFE-43A057CBA3E0}" srcOrd="0" destOrd="0" presId="urn:microsoft.com/office/officeart/2005/8/layout/bProcess3"/>
    <dgm:cxn modelId="{8E14E599-547C-4323-85EF-72F3525C4848}" type="presOf" srcId="{F48CF607-39FA-4D63-91FF-18205F369B8E}" destId="{A717592F-E413-44B9-B6AF-23F2D1E50026}" srcOrd="0" destOrd="0" presId="urn:microsoft.com/office/officeart/2005/8/layout/bProcess3"/>
    <dgm:cxn modelId="{015719AD-8340-4E85-AEC7-6DD2ECF7B566}" srcId="{313ECD73-CB2E-4BBB-B217-2FC3A3F80266}" destId="{55C78A7D-DDF3-49D8-8395-FDDFEBD587D7}" srcOrd="0" destOrd="0" parTransId="{FA336D78-C555-48B2-B821-EF8199778819}" sibTransId="{DAFF3DDD-540F-4163-B609-39E132870915}"/>
    <dgm:cxn modelId="{DB811FBA-7BEE-42BB-83FE-DCE3284665D2}" type="presOf" srcId="{313ECD73-CB2E-4BBB-B217-2FC3A3F80266}" destId="{8D85E95D-29B1-43CD-A02D-CFB4E94F0E31}" srcOrd="0" destOrd="0" presId="urn:microsoft.com/office/officeart/2005/8/layout/bProcess3"/>
    <dgm:cxn modelId="{5F20BCC2-EA81-4BF6-984E-C87254AE84C5}" srcId="{313ECD73-CB2E-4BBB-B217-2FC3A3F80266}" destId="{3A49689C-9167-4FD8-AC82-7E19DD5FB99F}" srcOrd="1" destOrd="0" parTransId="{B5FE3F66-AEB3-4D9C-8EB4-56C4866A6A8B}" sibTransId="{14D32C0D-8757-4FF2-B9F2-1E0612D3A9D9}"/>
    <dgm:cxn modelId="{A3F179C8-B47F-4E54-9A7B-85A8DCE987B3}" type="presOf" srcId="{FB38222B-9438-48B3-BCFF-BF297D451B9E}" destId="{074E1059-290A-4E86-A943-EC531EFB99FF}" srcOrd="0" destOrd="0" presId="urn:microsoft.com/office/officeart/2005/8/layout/bProcess3"/>
    <dgm:cxn modelId="{F77EDBC8-AA51-44A2-9A4B-06188942D524}" srcId="{79E0C74E-B03A-4AEE-B205-2B1378E50384}" destId="{5036DA79-6B82-4AB3-BE2C-CC9B6E88E0DA}" srcOrd="0" destOrd="0" parTransId="{A041B988-06AE-49FE-9AC4-A4735D7949B5}" sibTransId="{FB38222B-9438-48B3-BCFF-BF297D451B9E}"/>
    <dgm:cxn modelId="{C7C41CD6-7B67-4BEE-9ED2-DE6054A207A5}" type="presOf" srcId="{F48CF607-39FA-4D63-91FF-18205F369B8E}" destId="{09B4D4BC-D600-4B2F-81FE-767D063EDF88}" srcOrd="1" destOrd="0" presId="urn:microsoft.com/office/officeart/2005/8/layout/bProcess3"/>
    <dgm:cxn modelId="{0B754CEF-4016-4D19-843B-D398C50A6B29}" type="presOf" srcId="{3A49689C-9167-4FD8-AC82-7E19DD5FB99F}" destId="{8D85E95D-29B1-43CD-A02D-CFB4E94F0E31}" srcOrd="0" destOrd="2" presId="urn:microsoft.com/office/officeart/2005/8/layout/bProcess3"/>
    <dgm:cxn modelId="{5965EEF5-1A57-4F79-AC3E-94A3357907D2}" type="presOf" srcId="{043ACA03-E205-4FD1-9D3E-5D531DB4A24A}" destId="{0FDD5AD3-59A7-4A1D-AB7A-77977BCADCBE}" srcOrd="1" destOrd="0" presId="urn:microsoft.com/office/officeart/2005/8/layout/bProcess3"/>
    <dgm:cxn modelId="{FFC64777-8F46-4A12-9725-8BCCF4076745}" type="presParOf" srcId="{E16D9A5E-F37E-4DB3-8DFE-43A057CBA3E0}" destId="{0A0BE8D9-0712-4B1B-9797-EAC0DF3972BD}" srcOrd="0" destOrd="0" presId="urn:microsoft.com/office/officeart/2005/8/layout/bProcess3"/>
    <dgm:cxn modelId="{D96D6543-DCD3-499A-98F6-8BEDCFD6460A}" type="presParOf" srcId="{E16D9A5E-F37E-4DB3-8DFE-43A057CBA3E0}" destId="{074E1059-290A-4E86-A943-EC531EFB99FF}" srcOrd="1" destOrd="0" presId="urn:microsoft.com/office/officeart/2005/8/layout/bProcess3"/>
    <dgm:cxn modelId="{BBE41D08-33E7-4711-893D-CA1A3A7E9C97}" type="presParOf" srcId="{074E1059-290A-4E86-A943-EC531EFB99FF}" destId="{2FEB3C8B-6419-4FF6-8228-8B9DFA507618}" srcOrd="0" destOrd="0" presId="urn:microsoft.com/office/officeart/2005/8/layout/bProcess3"/>
    <dgm:cxn modelId="{7003647F-0570-4487-A5DB-43A58982FBFC}" type="presParOf" srcId="{E16D9A5E-F37E-4DB3-8DFE-43A057CBA3E0}" destId="{965C4AEE-251E-41ED-A257-B8E2CB0DE436}" srcOrd="2" destOrd="0" presId="urn:microsoft.com/office/officeart/2005/8/layout/bProcess3"/>
    <dgm:cxn modelId="{7CA2F837-D380-4761-A804-AFA7147A146D}" type="presParOf" srcId="{E16D9A5E-F37E-4DB3-8DFE-43A057CBA3E0}" destId="{B57882D5-6002-4E3A-B21F-E3A8FF97023E}" srcOrd="3" destOrd="0" presId="urn:microsoft.com/office/officeart/2005/8/layout/bProcess3"/>
    <dgm:cxn modelId="{E660FA1A-6A0A-4252-80F0-219ADC9F4975}" type="presParOf" srcId="{B57882D5-6002-4E3A-B21F-E3A8FF97023E}" destId="{08F267D5-DFA8-4EC1-B714-136AB925B82D}" srcOrd="0" destOrd="0" presId="urn:microsoft.com/office/officeart/2005/8/layout/bProcess3"/>
    <dgm:cxn modelId="{6535DF3B-357F-45C2-AC66-1E9CF56988EA}" type="presParOf" srcId="{E16D9A5E-F37E-4DB3-8DFE-43A057CBA3E0}" destId="{31279DE9-3708-423A-BA93-92C72BD200F5}" srcOrd="4" destOrd="0" presId="urn:microsoft.com/office/officeart/2005/8/layout/bProcess3"/>
    <dgm:cxn modelId="{8B2CD468-6225-4D38-A44E-6B47C885C071}" type="presParOf" srcId="{E16D9A5E-F37E-4DB3-8DFE-43A057CBA3E0}" destId="{A717592F-E413-44B9-B6AF-23F2D1E50026}" srcOrd="5" destOrd="0" presId="urn:microsoft.com/office/officeart/2005/8/layout/bProcess3"/>
    <dgm:cxn modelId="{99D33C2B-DE60-4083-8715-FB61BCCB65EA}" type="presParOf" srcId="{A717592F-E413-44B9-B6AF-23F2D1E50026}" destId="{09B4D4BC-D600-4B2F-81FE-767D063EDF88}" srcOrd="0" destOrd="0" presId="urn:microsoft.com/office/officeart/2005/8/layout/bProcess3"/>
    <dgm:cxn modelId="{C775F49A-4DAB-4D3D-9F47-6807153F7E82}" type="presParOf" srcId="{E16D9A5E-F37E-4DB3-8DFE-43A057CBA3E0}" destId="{98E41D80-8538-4E6F-824B-D26272E2BEC9}" srcOrd="6" destOrd="0" presId="urn:microsoft.com/office/officeart/2005/8/layout/bProcess3"/>
    <dgm:cxn modelId="{338D25D9-B101-48B5-985B-5B137E3C27D6}" type="presParOf" srcId="{E16D9A5E-F37E-4DB3-8DFE-43A057CBA3E0}" destId="{6E92A483-1B00-4934-A975-AE36164B82C1}" srcOrd="7" destOrd="0" presId="urn:microsoft.com/office/officeart/2005/8/layout/bProcess3"/>
    <dgm:cxn modelId="{79187C1A-2953-4BBE-A2FB-C8A467F0F789}" type="presParOf" srcId="{6E92A483-1B00-4934-A975-AE36164B82C1}" destId="{0FDD5AD3-59A7-4A1D-AB7A-77977BCADCBE}" srcOrd="0" destOrd="0" presId="urn:microsoft.com/office/officeart/2005/8/layout/bProcess3"/>
    <dgm:cxn modelId="{68268D72-ADE0-4FD4-B318-68C943B67E40}" type="presParOf" srcId="{E16D9A5E-F37E-4DB3-8DFE-43A057CBA3E0}" destId="{8D85E95D-29B1-43CD-A02D-CFB4E94F0E31}" srcOrd="8"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413363-4A44-498B-ADBF-BEBA43F0769C}">
      <dsp:nvSpPr>
        <dsp:cNvPr id="0" name=""/>
        <dsp:cNvSpPr/>
      </dsp:nvSpPr>
      <dsp:spPr>
        <a:xfrm>
          <a:off x="0" y="47719"/>
          <a:ext cx="2875668" cy="403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t>Query Performance Insight</a:t>
          </a:r>
          <a:endParaRPr lang="en-US" sz="1400" kern="1200"/>
        </a:p>
      </dsp:txBody>
      <dsp:txXfrm>
        <a:off x="0" y="47719"/>
        <a:ext cx="2875668" cy="403200"/>
      </dsp:txXfrm>
    </dsp:sp>
    <dsp:sp modelId="{1E31AB1D-0A0E-4EA3-AB60-FFFFEFEDB237}">
      <dsp:nvSpPr>
        <dsp:cNvPr id="0" name=""/>
        <dsp:cNvSpPr/>
      </dsp:nvSpPr>
      <dsp:spPr>
        <a:xfrm>
          <a:off x="0" y="450919"/>
          <a:ext cx="2875668" cy="215207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dirty="0"/>
            <a:t>Shows top performance degrading queries by showing most resource consuming queries, long running queries and custom configuration.</a:t>
          </a:r>
          <a:endParaRPr lang="en-US" sz="1400" kern="1200" dirty="0"/>
        </a:p>
        <a:p>
          <a:pPr marL="114300" lvl="1" indent="-114300" algn="l" defTabSz="622300">
            <a:lnSpc>
              <a:spcPct val="90000"/>
            </a:lnSpc>
            <a:spcBef>
              <a:spcPct val="0"/>
            </a:spcBef>
            <a:spcAft>
              <a:spcPct val="15000"/>
            </a:spcAft>
            <a:buChar char="•"/>
          </a:pPr>
          <a:r>
            <a:rPr lang="en-GB" sz="1400" kern="1200"/>
            <a:t>Can drill through the queries to see Query text, CPU, data IO and Log IO utilization %, Duration and Execution count.</a:t>
          </a:r>
          <a:endParaRPr lang="en-US" sz="1400" kern="1200"/>
        </a:p>
      </dsp:txBody>
      <dsp:txXfrm>
        <a:off x="0" y="450919"/>
        <a:ext cx="2875668" cy="215207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F7EA9-1E01-4FFE-84FF-2108C119A703}">
      <dsp:nvSpPr>
        <dsp:cNvPr id="0" name=""/>
        <dsp:cNvSpPr/>
      </dsp:nvSpPr>
      <dsp:spPr>
        <a:xfrm>
          <a:off x="0" y="30021"/>
          <a:ext cx="10880725" cy="973440"/>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A History of Intelligent Query Processing?</a:t>
          </a:r>
        </a:p>
      </dsp:txBody>
      <dsp:txXfrm>
        <a:off x="47519" y="77540"/>
        <a:ext cx="10785687" cy="878402"/>
      </dsp:txXfrm>
    </dsp:sp>
    <dsp:sp modelId="{B3FF4F94-AFF8-45A0-8726-E9EEAE2647AC}">
      <dsp:nvSpPr>
        <dsp:cNvPr id="0" name=""/>
        <dsp:cNvSpPr/>
      </dsp:nvSpPr>
      <dsp:spPr>
        <a:xfrm>
          <a:off x="0" y="1153221"/>
          <a:ext cx="10880725" cy="973440"/>
        </a:xfrm>
        <a:prstGeom prst="roundRect">
          <a:avLst/>
        </a:prstGeom>
        <a:solidFill>
          <a:schemeClr val="accent2">
            <a:hueOff val="-666874"/>
            <a:satOff val="13846"/>
            <a:lumOff val="147"/>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Enabling and Disabling Features</a:t>
          </a:r>
        </a:p>
      </dsp:txBody>
      <dsp:txXfrm>
        <a:off x="47519" y="1200740"/>
        <a:ext cx="10785687" cy="878402"/>
      </dsp:txXfrm>
    </dsp:sp>
    <dsp:sp modelId="{0F7F3B2F-F893-42CF-8954-92A2820F6E2E}">
      <dsp:nvSpPr>
        <dsp:cNvPr id="0" name=""/>
        <dsp:cNvSpPr/>
      </dsp:nvSpPr>
      <dsp:spPr>
        <a:xfrm>
          <a:off x="0" y="2276421"/>
          <a:ext cx="10880725" cy="973440"/>
        </a:xfrm>
        <a:prstGeom prst="roundRect">
          <a:avLst/>
        </a:prstGeom>
        <a:solidFill>
          <a:schemeClr val="accent2">
            <a:hueOff val="-1333748"/>
            <a:satOff val="27691"/>
            <a:lumOff val="294"/>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Adaptive Query Processing (2017)</a:t>
          </a:r>
        </a:p>
      </dsp:txBody>
      <dsp:txXfrm>
        <a:off x="47519" y="2323940"/>
        <a:ext cx="10785687" cy="878402"/>
      </dsp:txXfrm>
    </dsp:sp>
    <dsp:sp modelId="{0BB1E448-787F-4D41-AE24-573228A9BDF0}">
      <dsp:nvSpPr>
        <dsp:cNvPr id="0" name=""/>
        <dsp:cNvSpPr/>
      </dsp:nvSpPr>
      <dsp:spPr>
        <a:xfrm>
          <a:off x="0" y="3389893"/>
          <a:ext cx="10880725" cy="973440"/>
        </a:xfrm>
        <a:prstGeom prst="roundRect">
          <a:avLst/>
        </a:prstGeom>
        <a:solidFill>
          <a:schemeClr val="accent2">
            <a:hueOff val="-2000623"/>
            <a:satOff val="41537"/>
            <a:lumOff val="441"/>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Intelligent Query Processing (2019)</a:t>
          </a:r>
        </a:p>
      </dsp:txBody>
      <dsp:txXfrm>
        <a:off x="47519" y="3437412"/>
        <a:ext cx="10785687" cy="878402"/>
      </dsp:txXfrm>
    </dsp:sp>
    <dsp:sp modelId="{0D9E27B9-5A62-4832-890E-77836DFDF54B}">
      <dsp:nvSpPr>
        <dsp:cNvPr id="0" name=""/>
        <dsp:cNvSpPr/>
      </dsp:nvSpPr>
      <dsp:spPr>
        <a:xfrm>
          <a:off x="0" y="4522821"/>
          <a:ext cx="10880725" cy="973440"/>
        </a:xfrm>
        <a:prstGeom prst="round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New Features of IQP (2022)</a:t>
          </a:r>
        </a:p>
      </dsp:txBody>
      <dsp:txXfrm>
        <a:off x="47519" y="4570340"/>
        <a:ext cx="10785687" cy="87840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daptive Query Processing</a:t>
          </a:r>
          <a:endParaRPr lang="en-US" sz="2200" kern="1200" dirty="0"/>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194975" y="3143"/>
          <a:ext cx="1557294" cy="103819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6225383" y="33551"/>
        <a:ext cx="1496478" cy="977380"/>
      </dsp:txXfrm>
    </dsp:sp>
    <dsp:sp modelId="{2A969FB1-A0CA-4BCB-9811-B1C2A2D37CF2}">
      <dsp:nvSpPr>
        <dsp:cNvPr id="0" name=""/>
        <dsp:cNvSpPr/>
      </dsp:nvSpPr>
      <dsp:spPr>
        <a:xfrm>
          <a:off x="2924657" y="1041340"/>
          <a:ext cx="4048965" cy="415278"/>
        </a:xfrm>
        <a:custGeom>
          <a:avLst/>
          <a:gdLst/>
          <a:ahLst/>
          <a:cxnLst/>
          <a:rect l="0" t="0" r="0" b="0"/>
          <a:pathLst>
            <a:path>
              <a:moveTo>
                <a:pt x="4048965" y="0"/>
              </a:moveTo>
              <a:lnTo>
                <a:pt x="4048965" y="207639"/>
              </a:lnTo>
              <a:lnTo>
                <a:pt x="0" y="207639"/>
              </a:lnTo>
              <a:lnTo>
                <a:pt x="0" y="41527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146009" y="1456618"/>
          <a:ext cx="1557294" cy="1038196"/>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Adaptive Query Processing</a:t>
          </a:r>
          <a:endParaRPr lang="en-US" sz="1700" kern="1200" dirty="0"/>
        </a:p>
      </dsp:txBody>
      <dsp:txXfrm>
        <a:off x="2176417" y="1487026"/>
        <a:ext cx="1496478" cy="977380"/>
      </dsp:txXfrm>
    </dsp:sp>
    <dsp:sp modelId="{9B0BC5A7-6A70-41C3-871D-416E6CE7FB15}">
      <dsp:nvSpPr>
        <dsp:cNvPr id="0" name=""/>
        <dsp:cNvSpPr/>
      </dsp:nvSpPr>
      <dsp:spPr>
        <a:xfrm>
          <a:off x="900174" y="2494814"/>
          <a:ext cx="2024482" cy="415278"/>
        </a:xfrm>
        <a:custGeom>
          <a:avLst/>
          <a:gdLst/>
          <a:ahLst/>
          <a:cxnLst/>
          <a:rect l="0" t="0" r="0" b="0"/>
          <a:pathLst>
            <a:path>
              <a:moveTo>
                <a:pt x="2024482" y="0"/>
              </a:moveTo>
              <a:lnTo>
                <a:pt x="2024482" y="207639"/>
              </a:lnTo>
              <a:lnTo>
                <a:pt x="0" y="207639"/>
              </a:lnTo>
              <a:lnTo>
                <a:pt x="0" y="41527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121527" y="2910093"/>
          <a:ext cx="1557294" cy="1038196"/>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daptive Joins</a:t>
          </a:r>
        </a:p>
      </dsp:txBody>
      <dsp:txXfrm>
        <a:off x="151935" y="2940501"/>
        <a:ext cx="1496478" cy="977380"/>
      </dsp:txXfrm>
    </dsp:sp>
    <dsp:sp modelId="{52433208-80E6-4924-B192-66BA710CE757}">
      <dsp:nvSpPr>
        <dsp:cNvPr id="0" name=""/>
        <dsp:cNvSpPr/>
      </dsp:nvSpPr>
      <dsp:spPr>
        <a:xfrm>
          <a:off x="2878937" y="2494814"/>
          <a:ext cx="91440" cy="415278"/>
        </a:xfrm>
        <a:custGeom>
          <a:avLst/>
          <a:gdLst/>
          <a:ahLst/>
          <a:cxnLst/>
          <a:rect l="0" t="0" r="0" b="0"/>
          <a:pathLst>
            <a:path>
              <a:moveTo>
                <a:pt x="45720" y="0"/>
              </a:moveTo>
              <a:lnTo>
                <a:pt x="45720" y="41527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146009" y="2910093"/>
          <a:ext cx="1557294" cy="1038196"/>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rleaved Execution</a:t>
          </a:r>
        </a:p>
      </dsp:txBody>
      <dsp:txXfrm>
        <a:off x="2176417" y="2940501"/>
        <a:ext cx="1496478" cy="977380"/>
      </dsp:txXfrm>
    </dsp:sp>
    <dsp:sp modelId="{9F73EFAA-AC05-4F91-9BA5-6E511FAF9278}">
      <dsp:nvSpPr>
        <dsp:cNvPr id="0" name=""/>
        <dsp:cNvSpPr/>
      </dsp:nvSpPr>
      <dsp:spPr>
        <a:xfrm>
          <a:off x="2924657" y="2494814"/>
          <a:ext cx="2024482" cy="415278"/>
        </a:xfrm>
        <a:custGeom>
          <a:avLst/>
          <a:gdLst/>
          <a:ahLst/>
          <a:cxnLst/>
          <a:rect l="0" t="0" r="0" b="0"/>
          <a:pathLst>
            <a:path>
              <a:moveTo>
                <a:pt x="0" y="0"/>
              </a:moveTo>
              <a:lnTo>
                <a:pt x="0" y="207639"/>
              </a:lnTo>
              <a:lnTo>
                <a:pt x="2024482" y="207639"/>
              </a:lnTo>
              <a:lnTo>
                <a:pt x="2024482" y="41527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170492" y="2910093"/>
          <a:ext cx="1557294" cy="1038196"/>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emory Grant Feedback</a:t>
          </a:r>
        </a:p>
      </dsp:txBody>
      <dsp:txXfrm>
        <a:off x="4200900" y="2940501"/>
        <a:ext cx="1496478" cy="977380"/>
      </dsp:txXfrm>
    </dsp:sp>
    <dsp:sp modelId="{5690923D-9059-4138-8ACF-90D405019F80}">
      <dsp:nvSpPr>
        <dsp:cNvPr id="0" name=""/>
        <dsp:cNvSpPr/>
      </dsp:nvSpPr>
      <dsp:spPr>
        <a:xfrm>
          <a:off x="3936898" y="3948289"/>
          <a:ext cx="1012241" cy="415278"/>
        </a:xfrm>
        <a:custGeom>
          <a:avLst/>
          <a:gdLst/>
          <a:ahLst/>
          <a:cxnLst/>
          <a:rect l="0" t="0" r="0" b="0"/>
          <a:pathLst>
            <a:path>
              <a:moveTo>
                <a:pt x="1012241" y="0"/>
              </a:moveTo>
              <a:lnTo>
                <a:pt x="1012241" y="207639"/>
              </a:lnTo>
              <a:lnTo>
                <a:pt x="0" y="207639"/>
              </a:lnTo>
              <a:lnTo>
                <a:pt x="0" y="41527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3158251" y="4363567"/>
          <a:ext cx="1557294" cy="1038196"/>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a:t>
          </a:r>
        </a:p>
      </dsp:txBody>
      <dsp:txXfrm>
        <a:off x="3188659" y="4393975"/>
        <a:ext cx="1496478" cy="977380"/>
      </dsp:txXfrm>
    </dsp:sp>
    <dsp:sp modelId="{5CC0C396-8377-475C-A00D-7F8341A1F477}">
      <dsp:nvSpPr>
        <dsp:cNvPr id="0" name=""/>
        <dsp:cNvSpPr/>
      </dsp:nvSpPr>
      <dsp:spPr>
        <a:xfrm>
          <a:off x="4949139" y="3948289"/>
          <a:ext cx="1012241" cy="415278"/>
        </a:xfrm>
        <a:custGeom>
          <a:avLst/>
          <a:gdLst/>
          <a:ahLst/>
          <a:cxnLst/>
          <a:rect l="0" t="0" r="0" b="0"/>
          <a:pathLst>
            <a:path>
              <a:moveTo>
                <a:pt x="0" y="0"/>
              </a:moveTo>
              <a:lnTo>
                <a:pt x="0" y="207639"/>
              </a:lnTo>
              <a:lnTo>
                <a:pt x="1012241" y="207639"/>
              </a:lnTo>
              <a:lnTo>
                <a:pt x="1012241" y="41527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5182733" y="4363567"/>
          <a:ext cx="1557294" cy="103819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ow Mode</a:t>
          </a:r>
        </a:p>
      </dsp:txBody>
      <dsp:txXfrm>
        <a:off x="5213141" y="4393975"/>
        <a:ext cx="1496478" cy="977380"/>
      </dsp:txXfrm>
    </dsp:sp>
    <dsp:sp modelId="{54FE398B-EB4B-4376-8CAD-D5884C340DB3}">
      <dsp:nvSpPr>
        <dsp:cNvPr id="0" name=""/>
        <dsp:cNvSpPr/>
      </dsp:nvSpPr>
      <dsp:spPr>
        <a:xfrm>
          <a:off x="4949139" y="1041340"/>
          <a:ext cx="2024482" cy="415278"/>
        </a:xfrm>
        <a:custGeom>
          <a:avLst/>
          <a:gdLst/>
          <a:ahLst/>
          <a:cxnLst/>
          <a:rect l="0" t="0" r="0" b="0"/>
          <a:pathLst>
            <a:path>
              <a:moveTo>
                <a:pt x="2024482" y="0"/>
              </a:moveTo>
              <a:lnTo>
                <a:pt x="2024482" y="207639"/>
              </a:lnTo>
              <a:lnTo>
                <a:pt x="0" y="207639"/>
              </a:lnTo>
              <a:lnTo>
                <a:pt x="0" y="41527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170492" y="1456618"/>
          <a:ext cx="1557294" cy="103819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4200900" y="1487026"/>
        <a:ext cx="1496478" cy="977380"/>
      </dsp:txXfrm>
    </dsp:sp>
    <dsp:sp modelId="{54FC7E62-6BC8-4117-AE83-F7D461A58C56}">
      <dsp:nvSpPr>
        <dsp:cNvPr id="0" name=""/>
        <dsp:cNvSpPr/>
      </dsp:nvSpPr>
      <dsp:spPr>
        <a:xfrm>
          <a:off x="6927902" y="1041340"/>
          <a:ext cx="91440" cy="415278"/>
        </a:xfrm>
        <a:custGeom>
          <a:avLst/>
          <a:gdLst/>
          <a:ahLst/>
          <a:cxnLst/>
          <a:rect l="0" t="0" r="0" b="0"/>
          <a:pathLst>
            <a:path>
              <a:moveTo>
                <a:pt x="45720" y="0"/>
              </a:moveTo>
              <a:lnTo>
                <a:pt x="45720" y="41527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6194975" y="1456618"/>
          <a:ext cx="1557294" cy="103819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6225383" y="1487026"/>
        <a:ext cx="1496478" cy="977380"/>
      </dsp:txXfrm>
    </dsp:sp>
    <dsp:sp modelId="{8348335F-5BEF-45E6-9491-BE36F00A5827}">
      <dsp:nvSpPr>
        <dsp:cNvPr id="0" name=""/>
        <dsp:cNvSpPr/>
      </dsp:nvSpPr>
      <dsp:spPr>
        <a:xfrm>
          <a:off x="6973622" y="1041340"/>
          <a:ext cx="2024482" cy="415278"/>
        </a:xfrm>
        <a:custGeom>
          <a:avLst/>
          <a:gdLst/>
          <a:ahLst/>
          <a:cxnLst/>
          <a:rect l="0" t="0" r="0" b="0"/>
          <a:pathLst>
            <a:path>
              <a:moveTo>
                <a:pt x="0" y="0"/>
              </a:moveTo>
              <a:lnTo>
                <a:pt x="0" y="207639"/>
              </a:lnTo>
              <a:lnTo>
                <a:pt x="2024482" y="207639"/>
              </a:lnTo>
              <a:lnTo>
                <a:pt x="2024482" y="41527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8219457" y="1456618"/>
          <a:ext cx="1557294" cy="103819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8249865" y="1487026"/>
        <a:ext cx="1496478" cy="977380"/>
      </dsp:txXfrm>
    </dsp:sp>
    <dsp:sp modelId="{6BEB96AB-5069-4522-8BFE-22AE1E1907A1}">
      <dsp:nvSpPr>
        <dsp:cNvPr id="0" name=""/>
        <dsp:cNvSpPr/>
      </dsp:nvSpPr>
      <dsp:spPr>
        <a:xfrm>
          <a:off x="6973622" y="1041340"/>
          <a:ext cx="4048965" cy="415278"/>
        </a:xfrm>
        <a:custGeom>
          <a:avLst/>
          <a:gdLst/>
          <a:ahLst/>
          <a:cxnLst/>
          <a:rect l="0" t="0" r="0" b="0"/>
          <a:pathLst>
            <a:path>
              <a:moveTo>
                <a:pt x="0" y="0"/>
              </a:moveTo>
              <a:lnTo>
                <a:pt x="0" y="207639"/>
              </a:lnTo>
              <a:lnTo>
                <a:pt x="4048965" y="207639"/>
              </a:lnTo>
              <a:lnTo>
                <a:pt x="4048965" y="41527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10243940" y="1456618"/>
          <a:ext cx="1557294" cy="103819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10274348" y="1487026"/>
        <a:ext cx="1496478" cy="977380"/>
      </dsp:txXfrm>
    </dsp:sp>
    <dsp:sp modelId="{29F63BC1-C5FC-44AA-8F97-ECEF56FF0ECF}">
      <dsp:nvSpPr>
        <dsp:cNvPr id="0" name=""/>
        <dsp:cNvSpPr/>
      </dsp:nvSpPr>
      <dsp:spPr>
        <a:xfrm>
          <a:off x="10976867" y="2494814"/>
          <a:ext cx="91440" cy="415278"/>
        </a:xfrm>
        <a:custGeom>
          <a:avLst/>
          <a:gdLst/>
          <a:ahLst/>
          <a:cxnLst/>
          <a:rect l="0" t="0" r="0" b="0"/>
          <a:pathLst>
            <a:path>
              <a:moveTo>
                <a:pt x="45720" y="0"/>
              </a:moveTo>
              <a:lnTo>
                <a:pt x="45720" y="41527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10243940" y="2910093"/>
          <a:ext cx="1557294" cy="103819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10274348" y="2940501"/>
        <a:ext cx="1496478" cy="9773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22D08-C011-4DD1-8142-126293CB9841}">
      <dsp:nvSpPr>
        <dsp:cNvPr id="0" name=""/>
        <dsp:cNvSpPr/>
      </dsp:nvSpPr>
      <dsp:spPr>
        <a:xfrm rot="5400000">
          <a:off x="7206189" y="-288578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4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30 or lower</a:t>
          </a:r>
          <a:endParaRPr lang="en-US" sz="2200" kern="1200"/>
        </a:p>
      </dsp:txBody>
      <dsp:txXfrm rot="-5400000">
        <a:off x="4156647" y="226757"/>
        <a:ext cx="7326598" cy="1164516"/>
      </dsp:txXfrm>
    </dsp:sp>
    <dsp:sp modelId="{218FD34E-2541-406A-A55B-A25B88950A10}">
      <dsp:nvSpPr>
        <dsp:cNvPr id="0" name=""/>
        <dsp:cNvSpPr/>
      </dsp:nvSpPr>
      <dsp:spPr>
        <a:xfrm>
          <a:off x="0" y="2444"/>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7 Features</a:t>
          </a:r>
          <a:endParaRPr lang="en-US" sz="4200" kern="1200"/>
        </a:p>
      </dsp:txBody>
      <dsp:txXfrm>
        <a:off x="78747" y="81191"/>
        <a:ext cx="3999153" cy="1455647"/>
      </dsp:txXfrm>
    </dsp:sp>
    <dsp:sp modelId="{57B402D0-3813-4A24-A54B-61124215544D}">
      <dsp:nvSpPr>
        <dsp:cNvPr id="0" name=""/>
        <dsp:cNvSpPr/>
      </dsp:nvSpPr>
      <dsp:spPr>
        <a:xfrm rot="5400000">
          <a:off x="7206189" y="-1191985"/>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5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40 or lower</a:t>
          </a:r>
          <a:endParaRPr lang="en-US" sz="2200" kern="1200"/>
        </a:p>
      </dsp:txBody>
      <dsp:txXfrm rot="-5400000">
        <a:off x="4156647" y="1920555"/>
        <a:ext cx="7326598" cy="1164516"/>
      </dsp:txXfrm>
    </dsp:sp>
    <dsp:sp modelId="{2CEAB421-F7F0-4DBA-8BC0-61523C870BAD}">
      <dsp:nvSpPr>
        <dsp:cNvPr id="0" name=""/>
        <dsp:cNvSpPr/>
      </dsp:nvSpPr>
      <dsp:spPr>
        <a:xfrm>
          <a:off x="0" y="1696242"/>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9 Features</a:t>
          </a:r>
          <a:endParaRPr lang="en-US" sz="4200" kern="1200"/>
        </a:p>
      </dsp:txBody>
      <dsp:txXfrm>
        <a:off x="78747" y="1774989"/>
        <a:ext cx="3999153" cy="1455647"/>
      </dsp:txXfrm>
    </dsp:sp>
    <dsp:sp modelId="{626A19CE-ED32-4563-82E3-899C299E48A3}">
      <dsp:nvSpPr>
        <dsp:cNvPr id="0" name=""/>
        <dsp:cNvSpPr/>
      </dsp:nvSpPr>
      <dsp:spPr>
        <a:xfrm rot="5400000">
          <a:off x="7206189" y="50181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6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50 or lower</a:t>
          </a:r>
          <a:endParaRPr lang="en-US" sz="2200" kern="1200"/>
        </a:p>
      </dsp:txBody>
      <dsp:txXfrm rot="-5400000">
        <a:off x="4156647" y="3614353"/>
        <a:ext cx="7326598" cy="1164516"/>
      </dsp:txXfrm>
    </dsp:sp>
    <dsp:sp modelId="{5B24DDF3-44E0-40FF-B14A-8F8A9E374E17}">
      <dsp:nvSpPr>
        <dsp:cNvPr id="0" name=""/>
        <dsp:cNvSpPr/>
      </dsp:nvSpPr>
      <dsp:spPr>
        <a:xfrm>
          <a:off x="0" y="3390040"/>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22 Features</a:t>
          </a:r>
          <a:endParaRPr lang="en-US" sz="4200" kern="1200"/>
        </a:p>
      </dsp:txBody>
      <dsp:txXfrm>
        <a:off x="78747" y="3468787"/>
        <a:ext cx="3999153" cy="1455647"/>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577346"/>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597750"/>
        <a:ext cx="1004180" cy="655850"/>
      </dsp:txXfrm>
    </dsp:sp>
    <dsp:sp modelId="{2A969FB1-A0CA-4BCB-9811-B1C2A2D37CF2}">
      <dsp:nvSpPr>
        <dsp:cNvPr id="0" name=""/>
        <dsp:cNvSpPr/>
      </dsp:nvSpPr>
      <dsp:spPr>
        <a:xfrm>
          <a:off x="3244411" y="2274004"/>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55266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573072"/>
        <a:ext cx="1004180" cy="655850"/>
      </dsp:txXfrm>
    </dsp:sp>
    <dsp:sp modelId="{9B0BC5A7-6A70-41C3-871D-416E6CE7FB15}">
      <dsp:nvSpPr>
        <dsp:cNvPr id="0" name=""/>
        <dsp:cNvSpPr/>
      </dsp:nvSpPr>
      <dsp:spPr>
        <a:xfrm>
          <a:off x="527442" y="3249327"/>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527990"/>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548394"/>
        <a:ext cx="1004180" cy="655850"/>
      </dsp:txXfrm>
    </dsp:sp>
    <dsp:sp modelId="{52433208-80E6-4924-B192-66BA710CE757}">
      <dsp:nvSpPr>
        <dsp:cNvPr id="0" name=""/>
        <dsp:cNvSpPr/>
      </dsp:nvSpPr>
      <dsp:spPr>
        <a:xfrm>
          <a:off x="1885927" y="3249327"/>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527990"/>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548394"/>
        <a:ext cx="1004180" cy="655850"/>
      </dsp:txXfrm>
    </dsp:sp>
    <dsp:sp modelId="{BF248486-F648-4871-903F-93B482640036}">
      <dsp:nvSpPr>
        <dsp:cNvPr id="0" name=""/>
        <dsp:cNvSpPr/>
      </dsp:nvSpPr>
      <dsp:spPr>
        <a:xfrm>
          <a:off x="3198691" y="3249327"/>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527990"/>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548394"/>
        <a:ext cx="1004180" cy="655850"/>
      </dsp:txXfrm>
    </dsp:sp>
    <dsp:sp modelId="{5690923D-9059-4138-8ACF-90D405019F80}">
      <dsp:nvSpPr>
        <dsp:cNvPr id="0" name=""/>
        <dsp:cNvSpPr/>
      </dsp:nvSpPr>
      <dsp:spPr>
        <a:xfrm>
          <a:off x="1885927" y="4224649"/>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50331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523717"/>
        <a:ext cx="1004180" cy="655850"/>
      </dsp:txXfrm>
    </dsp:sp>
    <dsp:sp modelId="{810926B5-7D25-4DDF-8B56-5D578BE910C7}">
      <dsp:nvSpPr>
        <dsp:cNvPr id="0" name=""/>
        <dsp:cNvSpPr/>
      </dsp:nvSpPr>
      <dsp:spPr>
        <a:xfrm>
          <a:off x="3198691" y="4224649"/>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50331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523717"/>
        <a:ext cx="1004180" cy="655850"/>
      </dsp:txXfrm>
    </dsp:sp>
    <dsp:sp modelId="{5CC0C396-8377-475C-A00D-7F8341A1F477}">
      <dsp:nvSpPr>
        <dsp:cNvPr id="0" name=""/>
        <dsp:cNvSpPr/>
      </dsp:nvSpPr>
      <dsp:spPr>
        <a:xfrm>
          <a:off x="3244411" y="4224649"/>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50331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523717"/>
        <a:ext cx="1004180" cy="655850"/>
      </dsp:txXfrm>
    </dsp:sp>
    <dsp:sp modelId="{D0464A9B-83F7-4A2D-94B3-57ED5F3C091B}">
      <dsp:nvSpPr>
        <dsp:cNvPr id="0" name=""/>
        <dsp:cNvSpPr/>
      </dsp:nvSpPr>
      <dsp:spPr>
        <a:xfrm>
          <a:off x="3244411" y="3249327"/>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548394"/>
        <a:ext cx="1004180" cy="655850"/>
      </dsp:txXfrm>
    </dsp:sp>
    <dsp:sp modelId="{BC3E3219-39C3-4268-83EE-67E130107410}">
      <dsp:nvSpPr>
        <dsp:cNvPr id="0" name=""/>
        <dsp:cNvSpPr/>
      </dsp:nvSpPr>
      <dsp:spPr>
        <a:xfrm>
          <a:off x="3244411" y="3249327"/>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548394"/>
        <a:ext cx="1004180" cy="655850"/>
      </dsp:txXfrm>
    </dsp:sp>
    <dsp:sp modelId="{54FE398B-EB4B-4376-8CAD-D5884C340DB3}">
      <dsp:nvSpPr>
        <dsp:cNvPr id="0" name=""/>
        <dsp:cNvSpPr/>
      </dsp:nvSpPr>
      <dsp:spPr>
        <a:xfrm>
          <a:off x="4602896" y="2274004"/>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573072"/>
        <a:ext cx="1004180" cy="655850"/>
      </dsp:txXfrm>
    </dsp:sp>
    <dsp:sp modelId="{54FC7E62-6BC8-4117-AE83-F7D461A58C56}">
      <dsp:nvSpPr>
        <dsp:cNvPr id="0" name=""/>
        <dsp:cNvSpPr/>
      </dsp:nvSpPr>
      <dsp:spPr>
        <a:xfrm>
          <a:off x="5961381" y="2274004"/>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573072"/>
        <a:ext cx="1004180" cy="655850"/>
      </dsp:txXfrm>
    </dsp:sp>
    <dsp:sp modelId="{8348335F-5BEF-45E6-9491-BE36F00A5827}">
      <dsp:nvSpPr>
        <dsp:cNvPr id="0" name=""/>
        <dsp:cNvSpPr/>
      </dsp:nvSpPr>
      <dsp:spPr>
        <a:xfrm>
          <a:off x="7274145" y="2274004"/>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573072"/>
        <a:ext cx="1004180" cy="655850"/>
      </dsp:txXfrm>
    </dsp:sp>
    <dsp:sp modelId="{6BEB96AB-5069-4522-8BFE-22AE1E1907A1}">
      <dsp:nvSpPr>
        <dsp:cNvPr id="0" name=""/>
        <dsp:cNvSpPr/>
      </dsp:nvSpPr>
      <dsp:spPr>
        <a:xfrm>
          <a:off x="7319865" y="2274004"/>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573072"/>
        <a:ext cx="1004180" cy="655850"/>
      </dsp:txXfrm>
    </dsp:sp>
    <dsp:sp modelId="{29F63BC1-C5FC-44AA-8F97-ECEF56FF0ECF}">
      <dsp:nvSpPr>
        <dsp:cNvPr id="0" name=""/>
        <dsp:cNvSpPr/>
      </dsp:nvSpPr>
      <dsp:spPr>
        <a:xfrm>
          <a:off x="7999107" y="3249327"/>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527990"/>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548394"/>
        <a:ext cx="1004180" cy="655850"/>
      </dsp:txXfrm>
    </dsp:sp>
    <dsp:sp modelId="{A1CDEA6C-5A4D-425A-B7B4-C84037695A33}">
      <dsp:nvSpPr>
        <dsp:cNvPr id="0" name=""/>
        <dsp:cNvSpPr/>
      </dsp:nvSpPr>
      <dsp:spPr>
        <a:xfrm>
          <a:off x="8678350" y="3249327"/>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548394"/>
        <a:ext cx="1004180" cy="655850"/>
      </dsp:txXfrm>
    </dsp:sp>
    <dsp:sp modelId="{527B0E77-7EB2-429E-AE69-E261FDCB7833}">
      <dsp:nvSpPr>
        <dsp:cNvPr id="0" name=""/>
        <dsp:cNvSpPr/>
      </dsp:nvSpPr>
      <dsp:spPr>
        <a:xfrm>
          <a:off x="7319865" y="2274004"/>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0C6DAC9-637D-431F-9AFD-95F84B4698A9}">
      <dsp:nvSpPr>
        <dsp:cNvPr id="0" name=""/>
        <dsp:cNvSpPr/>
      </dsp:nvSpPr>
      <dsp:spPr>
        <a:xfrm>
          <a:off x="9514340" y="25526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573072"/>
        <a:ext cx="1004180" cy="655850"/>
      </dsp:txXfrm>
    </dsp:sp>
    <dsp:sp modelId="{09C8B667-CAD7-4DC0-985B-9B8F058B52AE}">
      <dsp:nvSpPr>
        <dsp:cNvPr id="0" name=""/>
        <dsp:cNvSpPr/>
      </dsp:nvSpPr>
      <dsp:spPr>
        <a:xfrm>
          <a:off x="7319865" y="2274004"/>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5526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573072"/>
        <a:ext cx="1004180" cy="65585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daptive Query Processing</a:t>
          </a:r>
          <a:endParaRPr lang="en-US" sz="2200" kern="1200" dirty="0"/>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daptive Query Processing</a:t>
          </a:r>
          <a:endParaRPr lang="en-US" sz="2200" kern="1200" dirty="0"/>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524685-E485-45BA-9C07-2D1F131398BE}">
      <dsp:nvSpPr>
        <dsp:cNvPr id="0" name=""/>
        <dsp:cNvSpPr/>
      </dsp:nvSpPr>
      <dsp:spPr>
        <a:xfrm>
          <a:off x="0" y="334265"/>
          <a:ext cx="2023883" cy="1349255"/>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Adaptive Joins</a:t>
          </a:r>
        </a:p>
      </dsp:txBody>
      <dsp:txXfrm>
        <a:off x="39518" y="373783"/>
        <a:ext cx="1944847" cy="127021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daptive Query Processing</a:t>
          </a:r>
          <a:endParaRPr lang="en-US" sz="2200" kern="1200" dirty="0"/>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781041-4575-4982-8D38-B265DE3598A8}">
      <dsp:nvSpPr>
        <dsp:cNvPr id="0" name=""/>
        <dsp:cNvSpPr/>
      </dsp:nvSpPr>
      <dsp:spPr>
        <a:xfrm>
          <a:off x="0" y="148094"/>
          <a:ext cx="3013595" cy="95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t>Custom options – Insights based upon custom selection: </a:t>
          </a:r>
          <a:endParaRPr lang="en-US" sz="1600" kern="1200" dirty="0"/>
        </a:p>
      </dsp:txBody>
      <dsp:txXfrm>
        <a:off x="46606" y="194700"/>
        <a:ext cx="2920383" cy="861508"/>
      </dsp:txXfrm>
    </dsp:sp>
    <dsp:sp modelId="{94D23C4D-2C84-4493-8EA9-05A7DAD1F3A9}">
      <dsp:nvSpPr>
        <dsp:cNvPr id="0" name=""/>
        <dsp:cNvSpPr/>
      </dsp:nvSpPr>
      <dsp:spPr>
        <a:xfrm>
          <a:off x="0" y="1102814"/>
          <a:ext cx="3013595" cy="1258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682"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GB" sz="1200" b="1" kern="1200" dirty="0"/>
            <a:t>Metric Type</a:t>
          </a:r>
          <a:r>
            <a:rPr lang="en-GB" sz="1200" kern="1200" dirty="0"/>
            <a:t> – CPU , Data IO, Log IO, Duration and Execution Count.</a:t>
          </a:r>
          <a:endParaRPr lang="en-US" sz="1200" kern="1200" dirty="0"/>
        </a:p>
        <a:p>
          <a:pPr marL="114300" lvl="1" indent="-114300" algn="l" defTabSz="533400">
            <a:lnSpc>
              <a:spcPct val="90000"/>
            </a:lnSpc>
            <a:spcBef>
              <a:spcPct val="0"/>
            </a:spcBef>
            <a:spcAft>
              <a:spcPct val="20000"/>
            </a:spcAft>
            <a:buChar char="•"/>
          </a:pPr>
          <a:r>
            <a:rPr lang="en-GB" sz="1200" b="1" kern="1200"/>
            <a:t>Time Period</a:t>
          </a:r>
          <a:r>
            <a:rPr lang="en-GB" sz="1200" kern="1200"/>
            <a:t> – Last 6 hrs, Last 24 hrs, Past Week, Past Month and Custom.</a:t>
          </a:r>
          <a:endParaRPr lang="en-US" sz="1200" kern="1200"/>
        </a:p>
        <a:p>
          <a:pPr marL="114300" lvl="1" indent="-114300" algn="l" defTabSz="533400">
            <a:lnSpc>
              <a:spcPct val="90000"/>
            </a:lnSpc>
            <a:spcBef>
              <a:spcPct val="0"/>
            </a:spcBef>
            <a:spcAft>
              <a:spcPct val="20000"/>
            </a:spcAft>
            <a:buChar char="•"/>
          </a:pPr>
          <a:r>
            <a:rPr lang="en-GB" sz="1200" b="1" kern="1200"/>
            <a:t>Number of Queries</a:t>
          </a:r>
          <a:r>
            <a:rPr lang="en-GB" sz="1200" kern="1200"/>
            <a:t> – 5, 10, 20.</a:t>
          </a:r>
          <a:endParaRPr lang="en-US" sz="1200" kern="1200"/>
        </a:p>
        <a:p>
          <a:pPr marL="114300" lvl="1" indent="-114300" algn="l" defTabSz="533400">
            <a:lnSpc>
              <a:spcPct val="90000"/>
            </a:lnSpc>
            <a:spcBef>
              <a:spcPct val="0"/>
            </a:spcBef>
            <a:spcAft>
              <a:spcPct val="20000"/>
            </a:spcAft>
            <a:buChar char="•"/>
          </a:pPr>
          <a:r>
            <a:rPr lang="en-GB" sz="1200" b="1" kern="1200"/>
            <a:t>Aggregation type</a:t>
          </a:r>
          <a:r>
            <a:rPr lang="en-GB" sz="1200" kern="1200"/>
            <a:t> – sum, max and avg.</a:t>
          </a:r>
          <a:endParaRPr lang="en-US" sz="1200" kern="1200"/>
        </a:p>
      </dsp:txBody>
      <dsp:txXfrm>
        <a:off x="0" y="1102814"/>
        <a:ext cx="3013595" cy="125856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BDA745-5382-416E-B7FA-146567ED0DED}">
      <dsp:nvSpPr>
        <dsp:cNvPr id="0" name=""/>
        <dsp:cNvSpPr/>
      </dsp:nvSpPr>
      <dsp:spPr>
        <a:xfrm>
          <a:off x="9652" y="6"/>
          <a:ext cx="1957507" cy="1305004"/>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Interleaved Execution</a:t>
          </a:r>
        </a:p>
      </dsp:txBody>
      <dsp:txXfrm>
        <a:off x="47874" y="38228"/>
        <a:ext cx="1881063" cy="122856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daptive Query Processing</a:t>
          </a:r>
          <a:endParaRPr lang="en-US" sz="2200" kern="1200" dirty="0"/>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48D2CF-C3B8-48C4-8FA0-8E7CB44BB97D}">
      <dsp:nvSpPr>
        <dsp:cNvPr id="0" name=""/>
        <dsp:cNvSpPr/>
      </dsp:nvSpPr>
      <dsp:spPr>
        <a:xfrm>
          <a:off x="119914" y="1"/>
          <a:ext cx="2318344" cy="1545562"/>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Memory Grant Feedback (Batch Mode)</a:t>
          </a:r>
        </a:p>
      </dsp:txBody>
      <dsp:txXfrm>
        <a:off x="165182" y="45269"/>
        <a:ext cx="2227808" cy="145502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395738" y="371170"/>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Adaptive Query Processing</a:t>
          </a:r>
          <a:endParaRPr lang="en-US" sz="2100" kern="1200" dirty="0"/>
        </a:p>
      </dsp:txBody>
      <dsp:txXfrm>
        <a:off x="2431675" y="407107"/>
        <a:ext cx="1768612" cy="1155117"/>
      </dsp:txXfrm>
    </dsp:sp>
    <dsp:sp modelId="{9B0BC5A7-6A70-41C3-871D-416E6CE7FB15}">
      <dsp:nvSpPr>
        <dsp:cNvPr id="0" name=""/>
        <dsp:cNvSpPr/>
      </dsp:nvSpPr>
      <dsp:spPr>
        <a:xfrm>
          <a:off x="923349" y="1598161"/>
          <a:ext cx="2392633" cy="490796"/>
        </a:xfrm>
        <a:custGeom>
          <a:avLst/>
          <a:gdLst/>
          <a:ahLst/>
          <a:cxnLst/>
          <a:rect l="0" t="0" r="0" b="0"/>
          <a:pathLst>
            <a:path>
              <a:moveTo>
                <a:pt x="2392633" y="0"/>
              </a:moveTo>
              <a:lnTo>
                <a:pt x="2392633" y="245398"/>
              </a:lnTo>
              <a:lnTo>
                <a:pt x="0" y="245398"/>
              </a:lnTo>
              <a:lnTo>
                <a:pt x="0" y="49079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3105" y="2088958"/>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39042" y="2124895"/>
        <a:ext cx="1768612" cy="1155117"/>
      </dsp:txXfrm>
    </dsp:sp>
    <dsp:sp modelId="{52433208-80E6-4924-B192-66BA710CE757}">
      <dsp:nvSpPr>
        <dsp:cNvPr id="0" name=""/>
        <dsp:cNvSpPr/>
      </dsp:nvSpPr>
      <dsp:spPr>
        <a:xfrm>
          <a:off x="3270262" y="1598161"/>
          <a:ext cx="91440" cy="490796"/>
        </a:xfrm>
        <a:custGeom>
          <a:avLst/>
          <a:gdLst/>
          <a:ahLst/>
          <a:cxnLst/>
          <a:rect l="0" t="0" r="0" b="0"/>
          <a:pathLst>
            <a:path>
              <a:moveTo>
                <a:pt x="45720" y="0"/>
              </a:moveTo>
              <a:lnTo>
                <a:pt x="45720" y="49079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5738" y="2088958"/>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1675" y="2124895"/>
        <a:ext cx="1768612" cy="1155117"/>
      </dsp:txXfrm>
    </dsp:sp>
    <dsp:sp modelId="{9F73EFAA-AC05-4F91-9BA5-6E511FAF9278}">
      <dsp:nvSpPr>
        <dsp:cNvPr id="0" name=""/>
        <dsp:cNvSpPr/>
      </dsp:nvSpPr>
      <dsp:spPr>
        <a:xfrm>
          <a:off x="3315982" y="1598161"/>
          <a:ext cx="2392633" cy="490796"/>
        </a:xfrm>
        <a:custGeom>
          <a:avLst/>
          <a:gdLst/>
          <a:ahLst/>
          <a:cxnLst/>
          <a:rect l="0" t="0" r="0" b="0"/>
          <a:pathLst>
            <a:path>
              <a:moveTo>
                <a:pt x="0" y="0"/>
              </a:moveTo>
              <a:lnTo>
                <a:pt x="0" y="245398"/>
              </a:lnTo>
              <a:lnTo>
                <a:pt x="2392633" y="245398"/>
              </a:lnTo>
              <a:lnTo>
                <a:pt x="2392633" y="49079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88371" y="2088958"/>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4308" y="2124895"/>
        <a:ext cx="1768612" cy="1155117"/>
      </dsp:txXfrm>
    </dsp:sp>
    <dsp:sp modelId="{5690923D-9059-4138-8ACF-90D405019F80}">
      <dsp:nvSpPr>
        <dsp:cNvPr id="0" name=""/>
        <dsp:cNvSpPr/>
      </dsp:nvSpPr>
      <dsp:spPr>
        <a:xfrm>
          <a:off x="4512298" y="3315949"/>
          <a:ext cx="1196316" cy="490796"/>
        </a:xfrm>
        <a:custGeom>
          <a:avLst/>
          <a:gdLst/>
          <a:ahLst/>
          <a:cxnLst/>
          <a:rect l="0" t="0" r="0" b="0"/>
          <a:pathLst>
            <a:path>
              <a:moveTo>
                <a:pt x="1196316" y="0"/>
              </a:moveTo>
              <a:lnTo>
                <a:pt x="1196316" y="245398"/>
              </a:lnTo>
              <a:lnTo>
                <a:pt x="0" y="245398"/>
              </a:lnTo>
              <a:lnTo>
                <a:pt x="0" y="49079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3592055" y="3806746"/>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3627992" y="3842683"/>
        <a:ext cx="1768612" cy="1155117"/>
      </dsp:txXfrm>
    </dsp:sp>
    <dsp:sp modelId="{72CBE2B3-D899-424A-812B-7B9A78E6CC32}">
      <dsp:nvSpPr>
        <dsp:cNvPr id="0" name=""/>
        <dsp:cNvSpPr/>
      </dsp:nvSpPr>
      <dsp:spPr>
        <a:xfrm>
          <a:off x="5708615" y="3315949"/>
          <a:ext cx="1196316" cy="490796"/>
        </a:xfrm>
        <a:custGeom>
          <a:avLst/>
          <a:gdLst/>
          <a:ahLst/>
          <a:cxnLst/>
          <a:rect l="0" t="0" r="0" b="0"/>
          <a:pathLst>
            <a:path>
              <a:moveTo>
                <a:pt x="0" y="0"/>
              </a:moveTo>
              <a:lnTo>
                <a:pt x="0" y="245398"/>
              </a:lnTo>
              <a:lnTo>
                <a:pt x="1196316" y="245398"/>
              </a:lnTo>
              <a:lnTo>
                <a:pt x="1196316" y="49079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5984688" y="3806746"/>
          <a:ext cx="1840486" cy="12269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6020625" y="3842683"/>
        <a:ext cx="1768612" cy="1155117"/>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6F9DF0-398B-4E24-817D-DCB130C0B943}">
      <dsp:nvSpPr>
        <dsp:cNvPr id="0" name=""/>
        <dsp:cNvSpPr/>
      </dsp:nvSpPr>
      <dsp:spPr>
        <a:xfrm>
          <a:off x="0" y="1429"/>
          <a:ext cx="2665039" cy="1776693"/>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emory Grant Feedback (Row Mode)</a:t>
          </a:r>
        </a:p>
      </dsp:txBody>
      <dsp:txXfrm>
        <a:off x="52038" y="53467"/>
        <a:ext cx="2560963" cy="167261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2829" y="3316249"/>
          <a:ext cx="2391050" cy="491036"/>
        </a:xfrm>
        <a:custGeom>
          <a:avLst/>
          <a:gdLst/>
          <a:ahLst/>
          <a:cxnLst/>
          <a:rect l="0" t="0" r="0" b="0"/>
          <a:pathLst>
            <a:path>
              <a:moveTo>
                <a:pt x="2391050" y="0"/>
              </a:moveTo>
              <a:lnTo>
                <a:pt x="2391050" y="245518"/>
              </a:lnTo>
              <a:lnTo>
                <a:pt x="0" y="245518"/>
              </a:lnTo>
              <a:lnTo>
                <a:pt x="0"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402136" y="3807286"/>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8091"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245518"/>
              </a:lnTo>
              <a:lnTo>
                <a:pt x="48472" y="245518"/>
              </a:lnTo>
              <a:lnTo>
                <a:pt x="48472"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5939"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31894"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9742" y="3807286"/>
          <a:ext cx="1835881"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5697" y="3843241"/>
        <a:ext cx="1763971"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4365EB-2ED1-4CFC-8BFA-0B60CA5A2F96}">
      <dsp:nvSpPr>
        <dsp:cNvPr id="0" name=""/>
        <dsp:cNvSpPr/>
      </dsp:nvSpPr>
      <dsp:spPr>
        <a:xfrm>
          <a:off x="0" y="395542"/>
          <a:ext cx="11144474" cy="110565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eedback is not persisted if the plan is evicted from cache or failover</a:t>
          </a:r>
        </a:p>
        <a:p>
          <a:pPr marL="171450" lvl="1" indent="-171450" algn="l" defTabSz="800100">
            <a:lnSpc>
              <a:spcPct val="90000"/>
            </a:lnSpc>
            <a:spcBef>
              <a:spcPct val="0"/>
            </a:spcBef>
            <a:spcAft>
              <a:spcPct val="15000"/>
            </a:spcAft>
            <a:buChar char="•"/>
          </a:pPr>
          <a:r>
            <a:rPr lang="en-US" sz="1800" kern="1200" dirty="0"/>
            <a:t>Record of how to adjust memory is lost and must re-learn</a:t>
          </a:r>
        </a:p>
      </dsp:txBody>
      <dsp:txXfrm>
        <a:off x="0" y="395542"/>
        <a:ext cx="11144474" cy="1105650"/>
      </dsp:txXfrm>
    </dsp:sp>
    <dsp:sp modelId="{89DAF6F2-441E-411B-A709-5BCA0EF94829}">
      <dsp:nvSpPr>
        <dsp:cNvPr id="0" name=""/>
        <dsp:cNvSpPr/>
      </dsp:nvSpPr>
      <dsp:spPr>
        <a:xfrm>
          <a:off x="557223" y="129862"/>
          <a:ext cx="7801131" cy="53136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Cache Eviction</a:t>
          </a:r>
        </a:p>
      </dsp:txBody>
      <dsp:txXfrm>
        <a:off x="583162" y="155801"/>
        <a:ext cx="7749253" cy="479482"/>
      </dsp:txXfrm>
    </dsp:sp>
    <dsp:sp modelId="{E70FDF43-97D4-43F1-A166-CC843657E64A}">
      <dsp:nvSpPr>
        <dsp:cNvPr id="0" name=""/>
        <dsp:cNvSpPr/>
      </dsp:nvSpPr>
      <dsp:spPr>
        <a:xfrm>
          <a:off x="0" y="1864072"/>
          <a:ext cx="11144474" cy="779625"/>
        </a:xfrm>
        <a:prstGeom prst="rect">
          <a:avLst/>
        </a:prstGeom>
        <a:solidFill>
          <a:schemeClr val="lt1">
            <a:alpha val="90000"/>
            <a:hueOff val="0"/>
            <a:satOff val="0"/>
            <a:lumOff val="0"/>
            <a:alphaOff val="0"/>
          </a:schemeClr>
        </a:solidFill>
        <a:ln w="25400" cap="flat" cmpd="sng" algn="ctr">
          <a:solidFill>
            <a:schemeClr val="accent4">
              <a:hueOff val="23295"/>
              <a:satOff val="-6229"/>
              <a:lumOff val="-405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ersist the memory grant feedback in the Query Store</a:t>
          </a:r>
        </a:p>
      </dsp:txBody>
      <dsp:txXfrm>
        <a:off x="0" y="1864072"/>
        <a:ext cx="11144474" cy="779625"/>
      </dsp:txXfrm>
    </dsp:sp>
    <dsp:sp modelId="{6B0312C1-241B-43B9-994D-378BC3536E11}">
      <dsp:nvSpPr>
        <dsp:cNvPr id="0" name=""/>
        <dsp:cNvSpPr/>
      </dsp:nvSpPr>
      <dsp:spPr>
        <a:xfrm>
          <a:off x="557223" y="1598392"/>
          <a:ext cx="7801131" cy="531360"/>
        </a:xfrm>
        <a:prstGeom prst="roundRect">
          <a:avLst/>
        </a:prstGeom>
        <a:solidFill>
          <a:schemeClr val="accent4">
            <a:hueOff val="23295"/>
            <a:satOff val="-6229"/>
            <a:lumOff val="-40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sist the feedback</a:t>
          </a:r>
        </a:p>
      </dsp:txBody>
      <dsp:txXfrm>
        <a:off x="583162" y="1624331"/>
        <a:ext cx="7749253" cy="479482"/>
      </dsp:txXfrm>
    </dsp:sp>
    <dsp:sp modelId="{3C607330-65A2-46F4-B605-9E229960D447}">
      <dsp:nvSpPr>
        <dsp:cNvPr id="0" name=""/>
        <dsp:cNvSpPr/>
      </dsp:nvSpPr>
      <dsp:spPr>
        <a:xfrm>
          <a:off x="0" y="3006577"/>
          <a:ext cx="11144474" cy="1105650"/>
        </a:xfrm>
        <a:prstGeom prst="rect">
          <a:avLst/>
        </a:prstGeom>
        <a:solidFill>
          <a:schemeClr val="lt1">
            <a:alpha val="90000"/>
            <a:hueOff val="0"/>
            <a:satOff val="0"/>
            <a:lumOff val="0"/>
            <a:alphaOff val="0"/>
          </a:schemeClr>
        </a:solidFill>
        <a:ln w="25400" cap="flat" cmpd="sng" algn="ctr">
          <a:solidFill>
            <a:schemeClr val="accent4">
              <a:hueOff val="46589"/>
              <a:satOff val="-12457"/>
              <a:lumOff val="-810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emory grants adjusted based on last feedback</a:t>
          </a:r>
        </a:p>
        <a:p>
          <a:pPr marL="171450" lvl="1" indent="-171450" algn="l" defTabSz="800100">
            <a:lnSpc>
              <a:spcPct val="90000"/>
            </a:lnSpc>
            <a:spcBef>
              <a:spcPct val="0"/>
            </a:spcBef>
            <a:spcAft>
              <a:spcPct val="15000"/>
            </a:spcAft>
            <a:buChar char="•"/>
          </a:pPr>
          <a:r>
            <a:rPr lang="en-US" sz="1800" kern="1200" dirty="0"/>
            <a:t>Parameter Sensitive Plans could change feedback </a:t>
          </a:r>
        </a:p>
      </dsp:txBody>
      <dsp:txXfrm>
        <a:off x="0" y="3006577"/>
        <a:ext cx="11144474" cy="1105650"/>
      </dsp:txXfrm>
    </dsp:sp>
    <dsp:sp modelId="{4A5C3DE5-1DE8-48D4-9600-4DF71555FC36}">
      <dsp:nvSpPr>
        <dsp:cNvPr id="0" name=""/>
        <dsp:cNvSpPr/>
      </dsp:nvSpPr>
      <dsp:spPr>
        <a:xfrm>
          <a:off x="557223" y="2740897"/>
          <a:ext cx="7801131" cy="531360"/>
        </a:xfrm>
        <a:prstGeom prst="roundRect">
          <a:avLst/>
        </a:prstGeom>
        <a:solidFill>
          <a:schemeClr val="accent4">
            <a:hueOff val="46589"/>
            <a:satOff val="-12457"/>
            <a:lumOff val="-81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Oscillating Feedback</a:t>
          </a:r>
        </a:p>
      </dsp:txBody>
      <dsp:txXfrm>
        <a:off x="583162" y="2766836"/>
        <a:ext cx="7749253" cy="479482"/>
      </dsp:txXfrm>
    </dsp:sp>
    <dsp:sp modelId="{7F7D9184-5CA0-410E-A61D-9721ADBFAFAE}">
      <dsp:nvSpPr>
        <dsp:cNvPr id="0" name=""/>
        <dsp:cNvSpPr/>
      </dsp:nvSpPr>
      <dsp:spPr>
        <a:xfrm>
          <a:off x="0" y="4475107"/>
          <a:ext cx="11144474" cy="779625"/>
        </a:xfrm>
        <a:prstGeom prst="rect">
          <a:avLst/>
        </a:prstGeom>
        <a:solidFill>
          <a:schemeClr val="lt1">
            <a:alpha val="90000"/>
            <a:hueOff val="0"/>
            <a:satOff val="0"/>
            <a:lumOff val="0"/>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mooths the grant size values based on execution usage history</a:t>
          </a:r>
        </a:p>
      </dsp:txBody>
      <dsp:txXfrm>
        <a:off x="0" y="4475107"/>
        <a:ext cx="11144474" cy="779625"/>
      </dsp:txXfrm>
    </dsp:sp>
    <dsp:sp modelId="{32A2D360-36C0-494E-954B-FEDE3893F373}">
      <dsp:nvSpPr>
        <dsp:cNvPr id="0" name=""/>
        <dsp:cNvSpPr/>
      </dsp:nvSpPr>
      <dsp:spPr>
        <a:xfrm>
          <a:off x="557223" y="4209427"/>
          <a:ext cx="7801131" cy="53136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centile-based calculation</a:t>
          </a:r>
        </a:p>
      </dsp:txBody>
      <dsp:txXfrm>
        <a:off x="583162" y="4235366"/>
        <a:ext cx="7749253" cy="47948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7E59CF-D9DE-4529-9FE8-6A9B72F6F2D9}">
      <dsp:nvSpPr>
        <dsp:cNvPr id="0" name=""/>
        <dsp:cNvSpPr/>
      </dsp:nvSpPr>
      <dsp:spPr>
        <a:xfrm>
          <a:off x="0" y="638006"/>
          <a:ext cx="36115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Get details for the individual queries</a:t>
          </a:r>
          <a:endParaRPr lang="en-US" sz="2400" kern="1200" dirty="0"/>
        </a:p>
      </dsp:txBody>
      <dsp:txXfrm>
        <a:off x="59399" y="697405"/>
        <a:ext cx="3492764" cy="1098002"/>
      </dsp:txXfrm>
    </dsp:sp>
    <dsp:sp modelId="{74C59528-9B9A-42EF-9E3E-973956D09847}">
      <dsp:nvSpPr>
        <dsp:cNvPr id="0" name=""/>
        <dsp:cNvSpPr/>
      </dsp:nvSpPr>
      <dsp:spPr>
        <a:xfrm>
          <a:off x="0" y="1854806"/>
          <a:ext cx="3611562"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66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CPU Consumption</a:t>
          </a:r>
          <a:endParaRPr lang="en-US" sz="2000" kern="1200" dirty="0"/>
        </a:p>
        <a:p>
          <a:pPr marL="228600" lvl="1" indent="-228600" algn="l" defTabSz="889000">
            <a:lnSpc>
              <a:spcPct val="90000"/>
            </a:lnSpc>
            <a:spcBef>
              <a:spcPct val="0"/>
            </a:spcBef>
            <a:spcAft>
              <a:spcPct val="20000"/>
            </a:spcAft>
            <a:buChar char="•"/>
          </a:pPr>
          <a:r>
            <a:rPr lang="en-US" sz="2000" kern="1200" baseline="0"/>
            <a:t>Duration</a:t>
          </a:r>
          <a:endParaRPr lang="en-US" sz="2000" kern="1200"/>
        </a:p>
        <a:p>
          <a:pPr marL="228600" lvl="1" indent="-228600" algn="l" defTabSz="889000">
            <a:lnSpc>
              <a:spcPct val="90000"/>
            </a:lnSpc>
            <a:spcBef>
              <a:spcPct val="0"/>
            </a:spcBef>
            <a:spcAft>
              <a:spcPct val="20000"/>
            </a:spcAft>
            <a:buChar char="•"/>
          </a:pPr>
          <a:r>
            <a:rPr lang="en-US" sz="2000" kern="1200" baseline="0" dirty="0"/>
            <a:t>Execution Count</a:t>
          </a:r>
          <a:endParaRPr lang="en-US" sz="2000" kern="1200" dirty="0"/>
        </a:p>
      </dsp:txBody>
      <dsp:txXfrm>
        <a:off x="0" y="1854806"/>
        <a:ext cx="3611562" cy="1110037"/>
      </dsp:txXfrm>
    </dsp:sp>
    <dsp:sp modelId="{E76F6BF3-F965-4588-8C47-77DD1629D9DB}">
      <dsp:nvSpPr>
        <dsp:cNvPr id="0" name=""/>
        <dsp:cNvSpPr/>
      </dsp:nvSpPr>
      <dsp:spPr>
        <a:xfrm>
          <a:off x="0" y="2964843"/>
          <a:ext cx="36115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t does not capture DDL queries</a:t>
          </a:r>
          <a:endParaRPr lang="en-US" sz="2400" kern="1200" dirty="0"/>
        </a:p>
      </dsp:txBody>
      <dsp:txXfrm>
        <a:off x="59399" y="3024242"/>
        <a:ext cx="3492764" cy="1098002"/>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0076" y="3316249"/>
          <a:ext cx="2393803" cy="491036"/>
        </a:xfrm>
        <a:custGeom>
          <a:avLst/>
          <a:gdLst/>
          <a:ahLst/>
          <a:cxnLst/>
          <a:rect l="0" t="0" r="0" b="0"/>
          <a:pathLst>
            <a:path>
              <a:moveTo>
                <a:pt x="2393803" y="0"/>
              </a:moveTo>
              <a:lnTo>
                <a:pt x="2393803" y="245518"/>
              </a:lnTo>
              <a:lnTo>
                <a:pt x="0" y="245518"/>
              </a:lnTo>
              <a:lnTo>
                <a:pt x="0"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399383" y="3807286"/>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5338"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3186"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29141"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6989" y="3807286"/>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2944" y="3843241"/>
        <a:ext cx="1769477"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498968"/>
          <a:ext cx="11144474" cy="141750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a:t>CE determines the estimated number of rows for a query plan</a:t>
          </a:r>
        </a:p>
        <a:p>
          <a:pPr marL="171450" lvl="1" indent="-171450" algn="l" defTabSz="800100">
            <a:lnSpc>
              <a:spcPct val="90000"/>
            </a:lnSpc>
            <a:spcBef>
              <a:spcPct val="0"/>
            </a:spcBef>
            <a:spcAft>
              <a:spcPct val="15000"/>
            </a:spcAft>
            <a:buChar char="•"/>
          </a:pPr>
          <a:r>
            <a:rPr lang="en-US" sz="1800" b="0" kern="1200" dirty="0"/>
            <a:t>CE models are based on statistics and assumptions about the distribution of data </a:t>
          </a:r>
        </a:p>
        <a:p>
          <a:pPr marL="171450" lvl="1" indent="-171450" algn="l" defTabSz="800100">
            <a:lnSpc>
              <a:spcPct val="90000"/>
            </a:lnSpc>
            <a:spcBef>
              <a:spcPct val="0"/>
            </a:spcBef>
            <a:spcAft>
              <a:spcPct val="15000"/>
            </a:spcAft>
            <a:buChar char="•"/>
          </a:pPr>
          <a:r>
            <a:rPr lang="en-US" sz="1800" b="0" kern="1200" dirty="0"/>
            <a:t>Learn more about CE models and assumptions </a:t>
          </a:r>
          <a:r>
            <a:rPr lang="en-US" sz="1800" kern="1200" dirty="0">
              <a:hlinkClick xmlns:r="http://schemas.openxmlformats.org/officeDocument/2006/relationships" r:id="rId1">
                <a:extLst>
                  <a:ext uri="{A12FA001-AC4F-418D-AE19-62706E023703}">
                    <ahyp:hlinkClr xmlns:ahyp="http://schemas.microsoft.com/office/drawing/2018/hyperlinkcolor" val="tx"/>
                  </a:ext>
                </a:extLst>
              </a:hlinkClick>
            </a:rPr>
            <a:t>https://aka.ms/sqlCE</a:t>
          </a:r>
          <a:endParaRPr lang="en-US" sz="1800" b="0" kern="1200" dirty="0"/>
        </a:p>
      </dsp:txBody>
      <dsp:txXfrm>
        <a:off x="0" y="498968"/>
        <a:ext cx="11144474" cy="1417500"/>
      </dsp:txXfrm>
    </dsp:sp>
    <dsp:sp modelId="{09DF4224-3D80-47D7-B2BA-0A0BBC33BA22}">
      <dsp:nvSpPr>
        <dsp:cNvPr id="0" name=""/>
        <dsp:cNvSpPr/>
      </dsp:nvSpPr>
      <dsp:spPr>
        <a:xfrm>
          <a:off x="557223" y="233288"/>
          <a:ext cx="7801131" cy="53136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Cardinality Estimation Today</a:t>
          </a:r>
        </a:p>
      </dsp:txBody>
      <dsp:txXfrm>
        <a:off x="583162" y="259227"/>
        <a:ext cx="7749253" cy="479482"/>
      </dsp:txXfrm>
    </dsp:sp>
    <dsp:sp modelId="{124365EB-2ED1-4CFC-8BFA-0B60CA5A2F96}">
      <dsp:nvSpPr>
        <dsp:cNvPr id="0" name=""/>
        <dsp:cNvSpPr/>
      </dsp:nvSpPr>
      <dsp:spPr>
        <a:xfrm>
          <a:off x="0" y="2279348"/>
          <a:ext cx="11144474" cy="1417500"/>
        </a:xfrm>
        <a:prstGeom prst="rect">
          <a:avLst/>
        </a:prstGeom>
        <a:solidFill>
          <a:schemeClr val="lt1">
            <a:alpha val="90000"/>
            <a:hueOff val="0"/>
            <a:satOff val="0"/>
            <a:lumOff val="0"/>
            <a:alphaOff val="0"/>
          </a:schemeClr>
        </a:solidFill>
        <a:ln w="25400" cap="flat" cmpd="sng" algn="ctr">
          <a:solidFill>
            <a:schemeClr val="accent4">
              <a:hueOff val="34942"/>
              <a:satOff val="-9343"/>
              <a:lumOff val="-60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cardinality estimator sometimes makes incorrect assumptions</a:t>
          </a:r>
        </a:p>
        <a:p>
          <a:pPr marL="171450" lvl="1" indent="-171450" algn="l" defTabSz="800100">
            <a:lnSpc>
              <a:spcPct val="90000"/>
            </a:lnSpc>
            <a:spcBef>
              <a:spcPct val="0"/>
            </a:spcBef>
            <a:spcAft>
              <a:spcPct val="15000"/>
            </a:spcAft>
            <a:buChar char="•"/>
          </a:pPr>
          <a:r>
            <a:rPr lang="en-US" sz="1800" kern="1200" dirty="0"/>
            <a:t>Poor assumptions leads to poor query plans.</a:t>
          </a:r>
        </a:p>
        <a:p>
          <a:pPr marL="171450" lvl="1" indent="-171450" algn="l" defTabSz="800100">
            <a:lnSpc>
              <a:spcPct val="90000"/>
            </a:lnSpc>
            <a:spcBef>
              <a:spcPct val="0"/>
            </a:spcBef>
            <a:spcAft>
              <a:spcPct val="15000"/>
            </a:spcAft>
            <a:buChar char="•"/>
          </a:pPr>
          <a:r>
            <a:rPr lang="en-US" sz="1800" kern="1200" dirty="0"/>
            <a:t>One CE models doesn’t fit all scenarios</a:t>
          </a:r>
        </a:p>
      </dsp:txBody>
      <dsp:txXfrm>
        <a:off x="0" y="2279348"/>
        <a:ext cx="11144474" cy="1417500"/>
      </dsp:txXfrm>
    </dsp:sp>
    <dsp:sp modelId="{89DAF6F2-441E-411B-A709-5BCA0EF94829}">
      <dsp:nvSpPr>
        <dsp:cNvPr id="0" name=""/>
        <dsp:cNvSpPr/>
      </dsp:nvSpPr>
      <dsp:spPr>
        <a:xfrm>
          <a:off x="557223" y="2013668"/>
          <a:ext cx="7801131" cy="531360"/>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Incorrect Assumptions for Cardinality Estimates</a:t>
          </a:r>
        </a:p>
      </dsp:txBody>
      <dsp:txXfrm>
        <a:off x="583162" y="2039607"/>
        <a:ext cx="7749253" cy="479482"/>
      </dsp:txXfrm>
    </dsp:sp>
    <dsp:sp modelId="{E70FDF43-97D4-43F1-A166-CC843657E64A}">
      <dsp:nvSpPr>
        <dsp:cNvPr id="0" name=""/>
        <dsp:cNvSpPr/>
      </dsp:nvSpPr>
      <dsp:spPr>
        <a:xfrm>
          <a:off x="0" y="4059729"/>
          <a:ext cx="11144474" cy="1417500"/>
        </a:xfrm>
        <a:prstGeom prst="rect">
          <a:avLst/>
        </a:prstGeom>
        <a:solidFill>
          <a:schemeClr val="lt1">
            <a:alpha val="90000"/>
            <a:hueOff val="0"/>
            <a:satOff val="0"/>
            <a:lumOff val="0"/>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E Feedback will evaluate accuracy for repeated queries</a:t>
          </a:r>
        </a:p>
        <a:p>
          <a:pPr marL="171450" lvl="1" indent="-171450" algn="l" defTabSz="800100">
            <a:lnSpc>
              <a:spcPct val="90000"/>
            </a:lnSpc>
            <a:spcBef>
              <a:spcPct val="0"/>
            </a:spcBef>
            <a:spcAft>
              <a:spcPct val="15000"/>
            </a:spcAft>
            <a:buChar char="•"/>
          </a:pPr>
          <a:r>
            <a:rPr lang="en-US" sz="1800" kern="1200" dirty="0"/>
            <a:t>If assumption looks incorrect, test a different CE model assumption and verify if it helps</a:t>
          </a:r>
        </a:p>
        <a:p>
          <a:pPr marL="171450" lvl="1" indent="-171450" algn="l" defTabSz="800100">
            <a:lnSpc>
              <a:spcPct val="90000"/>
            </a:lnSpc>
            <a:spcBef>
              <a:spcPct val="0"/>
            </a:spcBef>
            <a:spcAft>
              <a:spcPct val="15000"/>
            </a:spcAft>
            <a:buChar char="•"/>
          </a:pPr>
          <a:r>
            <a:rPr lang="en-US" sz="1800" kern="1200" dirty="0"/>
            <a:t>If a CE model assumption does help, it will replace the current plan in cache.</a:t>
          </a:r>
        </a:p>
      </dsp:txBody>
      <dsp:txXfrm>
        <a:off x="0" y="4059729"/>
        <a:ext cx="11144474" cy="1417500"/>
      </dsp:txXfrm>
    </dsp:sp>
    <dsp:sp modelId="{6B0312C1-241B-43B9-994D-378BC3536E11}">
      <dsp:nvSpPr>
        <dsp:cNvPr id="0" name=""/>
        <dsp:cNvSpPr/>
      </dsp:nvSpPr>
      <dsp:spPr>
        <a:xfrm>
          <a:off x="557223" y="3794049"/>
          <a:ext cx="7801131" cy="53136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Learn from historical CE model assumptions</a:t>
          </a:r>
        </a:p>
      </dsp:txBody>
      <dsp:txXfrm>
        <a:off x="583162" y="3819988"/>
        <a:ext cx="7749253" cy="479482"/>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0076" y="3316249"/>
          <a:ext cx="2393803" cy="491036"/>
        </a:xfrm>
        <a:custGeom>
          <a:avLst/>
          <a:gdLst/>
          <a:ahLst/>
          <a:cxnLst/>
          <a:rect l="0" t="0" r="0" b="0"/>
          <a:pathLst>
            <a:path>
              <a:moveTo>
                <a:pt x="2393803" y="0"/>
              </a:moveTo>
              <a:lnTo>
                <a:pt x="2393803" y="245518"/>
              </a:lnTo>
              <a:lnTo>
                <a:pt x="0" y="245518"/>
              </a:lnTo>
              <a:lnTo>
                <a:pt x="0"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399383" y="3807286"/>
          <a:ext cx="1841387" cy="12275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5338"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3186"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29141"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6989" y="3807286"/>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2944" y="3843241"/>
        <a:ext cx="1769477"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88898"/>
          <a:ext cx="11144474" cy="101745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Parallelism is often beneficial for querying large amounts of data, but transactional queries could suffer when time spent coordinating threads outweighs the advantages of using a parallel plan</a:t>
          </a:r>
          <a:endParaRPr lang="en-US" sz="1700" b="0" kern="1200" dirty="0"/>
        </a:p>
      </dsp:txBody>
      <dsp:txXfrm>
        <a:off x="0" y="388898"/>
        <a:ext cx="11144474" cy="1017450"/>
      </dsp:txXfrm>
    </dsp:sp>
    <dsp:sp modelId="{09DF4224-3D80-47D7-B2BA-0A0BBC33BA22}">
      <dsp:nvSpPr>
        <dsp:cNvPr id="0" name=""/>
        <dsp:cNvSpPr/>
      </dsp:nvSpPr>
      <dsp:spPr>
        <a:xfrm>
          <a:off x="557223" y="137978"/>
          <a:ext cx="7801131" cy="50184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b="1" kern="1200" dirty="0"/>
            <a:t>Parallelism Today</a:t>
          </a:r>
        </a:p>
      </dsp:txBody>
      <dsp:txXfrm>
        <a:off x="581721" y="162476"/>
        <a:ext cx="7752135" cy="452844"/>
      </dsp:txXfrm>
    </dsp:sp>
    <dsp:sp modelId="{1738A5E9-7294-453F-BC26-FB76949CBB6D}">
      <dsp:nvSpPr>
        <dsp:cNvPr id="0" name=""/>
        <dsp:cNvSpPr/>
      </dsp:nvSpPr>
      <dsp:spPr>
        <a:xfrm>
          <a:off x="0" y="1749068"/>
          <a:ext cx="11144474" cy="1338750"/>
        </a:xfrm>
        <a:prstGeom prst="rect">
          <a:avLst/>
        </a:prstGeom>
        <a:solidFill>
          <a:schemeClr val="lt1">
            <a:alpha val="90000"/>
            <a:hueOff val="0"/>
            <a:satOff val="0"/>
            <a:lumOff val="0"/>
            <a:alphaOff val="0"/>
          </a:schemeClr>
        </a:solidFill>
        <a:ln w="25400" cap="flat" cmpd="sng" algn="ctr">
          <a:solidFill>
            <a:schemeClr val="accent4">
              <a:hueOff val="34942"/>
              <a:satOff val="-9343"/>
              <a:lumOff val="-60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Before SQL Server 2019, default value for MAXDOP = 0</a:t>
          </a:r>
        </a:p>
        <a:p>
          <a:pPr marL="171450" lvl="1" indent="-171450" algn="l" defTabSz="755650">
            <a:lnSpc>
              <a:spcPct val="90000"/>
            </a:lnSpc>
            <a:spcBef>
              <a:spcPct val="0"/>
            </a:spcBef>
            <a:spcAft>
              <a:spcPct val="15000"/>
            </a:spcAft>
            <a:buChar char="•"/>
          </a:pPr>
          <a:r>
            <a:rPr lang="en-US" sz="1700" kern="1200" dirty="0"/>
            <a:t>With SQL Server 2019, default is calculated at setup based on available processors</a:t>
          </a:r>
        </a:p>
        <a:p>
          <a:pPr marL="171450" lvl="1" indent="-171450" algn="l" defTabSz="755650">
            <a:lnSpc>
              <a:spcPct val="90000"/>
            </a:lnSpc>
            <a:spcBef>
              <a:spcPct val="0"/>
            </a:spcBef>
            <a:spcAft>
              <a:spcPct val="15000"/>
            </a:spcAft>
            <a:buChar char="•"/>
          </a:pPr>
          <a:r>
            <a:rPr lang="en-US" sz="1700" kern="1200" dirty="0"/>
            <a:t>Azure SQL Database the default MAXDOP is 8</a:t>
          </a:r>
        </a:p>
      </dsp:txBody>
      <dsp:txXfrm>
        <a:off x="0" y="1749068"/>
        <a:ext cx="11144474" cy="1338750"/>
      </dsp:txXfrm>
    </dsp:sp>
    <dsp:sp modelId="{8EDC92CE-1AB4-4FAD-8EB9-3304E9FB1C42}">
      <dsp:nvSpPr>
        <dsp:cNvPr id="0" name=""/>
        <dsp:cNvSpPr/>
      </dsp:nvSpPr>
      <dsp:spPr>
        <a:xfrm>
          <a:off x="557223" y="1498148"/>
          <a:ext cx="7801131" cy="501840"/>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b="1" kern="1200" dirty="0"/>
            <a:t>Current Settings</a:t>
          </a:r>
        </a:p>
      </dsp:txBody>
      <dsp:txXfrm>
        <a:off x="581721" y="1522646"/>
        <a:ext cx="7752135" cy="452844"/>
      </dsp:txXfrm>
    </dsp:sp>
    <dsp:sp modelId="{124365EB-2ED1-4CFC-8BFA-0B60CA5A2F96}">
      <dsp:nvSpPr>
        <dsp:cNvPr id="0" name=""/>
        <dsp:cNvSpPr/>
      </dsp:nvSpPr>
      <dsp:spPr>
        <a:xfrm>
          <a:off x="0" y="3430538"/>
          <a:ext cx="11144474" cy="2142000"/>
        </a:xfrm>
        <a:prstGeom prst="rect">
          <a:avLst/>
        </a:prstGeom>
        <a:solidFill>
          <a:schemeClr val="lt1">
            <a:alpha val="90000"/>
            <a:hueOff val="0"/>
            <a:satOff val="0"/>
            <a:lumOff val="0"/>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latin typeface="Segoe UI" panose="020B0502040204020203" pitchFamily="34" charset="0"/>
              <a:cs typeface="Segoe UI" panose="020B0502040204020203" pitchFamily="34" charset="0"/>
            </a:rPr>
            <a:t>DOP Feedback will </a:t>
          </a:r>
          <a:r>
            <a:rPr lang="en-US" sz="1700" b="1" kern="1200" dirty="0">
              <a:latin typeface="Segoe UI" panose="020B0502040204020203" pitchFamily="34" charset="0"/>
              <a:cs typeface="Segoe UI" panose="020B0502040204020203" pitchFamily="34" charset="0"/>
            </a:rPr>
            <a:t>identify</a:t>
          </a:r>
          <a:r>
            <a:rPr lang="en-US" sz="1700" kern="1200" dirty="0">
              <a:latin typeface="Segoe UI" panose="020B0502040204020203" pitchFamily="34" charset="0"/>
              <a:cs typeface="Segoe UI" panose="020B0502040204020203" pitchFamily="34" charset="0"/>
            </a:rPr>
            <a:t> parallelism inefficiencies for repeating queries, based on CPU time, elapsed time, and waits</a:t>
          </a:r>
          <a:endParaRPr lang="en-US" sz="1700" kern="1200" dirty="0"/>
        </a:p>
        <a:p>
          <a:pPr marL="171450" lvl="1" indent="-171450" algn="l" defTabSz="755650">
            <a:lnSpc>
              <a:spcPct val="90000"/>
            </a:lnSpc>
            <a:spcBef>
              <a:spcPct val="0"/>
            </a:spcBef>
            <a:spcAft>
              <a:spcPct val="15000"/>
            </a:spcAft>
            <a:buChar char="•"/>
          </a:pPr>
          <a:r>
            <a:rPr lang="en-US" sz="1700" kern="1200" dirty="0">
              <a:latin typeface="Segoe UI" panose="020B0502040204020203" pitchFamily="34" charset="0"/>
              <a:cs typeface="Segoe UI" panose="020B0502040204020203" pitchFamily="34" charset="0"/>
            </a:rPr>
            <a:t>If parallelism usage is inefficient, the DOP will be </a:t>
          </a:r>
          <a:r>
            <a:rPr lang="en-US" sz="1700" b="1" kern="1200" dirty="0">
              <a:latin typeface="Segoe UI" panose="020B0502040204020203" pitchFamily="34" charset="0"/>
              <a:cs typeface="Segoe UI" panose="020B0502040204020203" pitchFamily="34" charset="0"/>
            </a:rPr>
            <a:t>lowered</a:t>
          </a:r>
          <a:r>
            <a:rPr lang="en-US" sz="1700" kern="1200" dirty="0">
              <a:latin typeface="Segoe UI" panose="020B0502040204020203" pitchFamily="34" charset="0"/>
              <a:cs typeface="Segoe UI" panose="020B0502040204020203" pitchFamily="34" charset="0"/>
            </a:rPr>
            <a:t> for next execution (min DOP = 2) and then </a:t>
          </a:r>
          <a:r>
            <a:rPr lang="en-US" sz="1700" b="1" kern="1200" dirty="0">
              <a:latin typeface="Segoe UI" panose="020B0502040204020203" pitchFamily="34" charset="0"/>
              <a:cs typeface="Segoe UI" panose="020B0502040204020203" pitchFamily="34" charset="0"/>
            </a:rPr>
            <a:t>verify</a:t>
          </a:r>
          <a:r>
            <a:rPr lang="en-US" sz="1700" kern="1200" dirty="0">
              <a:latin typeface="Segoe UI" panose="020B0502040204020203" pitchFamily="34" charset="0"/>
              <a:cs typeface="Segoe UI" panose="020B0502040204020203" pitchFamily="34" charset="0"/>
            </a:rPr>
            <a:t> if it helps</a:t>
          </a:r>
        </a:p>
        <a:p>
          <a:pPr marL="171450" lvl="1" indent="-171450" algn="l" defTabSz="755650">
            <a:lnSpc>
              <a:spcPct val="90000"/>
            </a:lnSpc>
            <a:spcBef>
              <a:spcPct val="0"/>
            </a:spcBef>
            <a:spcAft>
              <a:spcPct val="15000"/>
            </a:spcAft>
            <a:buChar char="•"/>
          </a:pPr>
          <a:r>
            <a:rPr lang="en-US" sz="1700" kern="1200" dirty="0"/>
            <a:t>Only verified feedback is persisted (Query Store). </a:t>
          </a:r>
          <a:br>
            <a:rPr lang="en-US" sz="1700" kern="1200" dirty="0"/>
          </a:br>
          <a:r>
            <a:rPr lang="en-US" sz="1700" kern="1200" dirty="0"/>
            <a:t>- If next execution regresses, back to last good known DOP </a:t>
          </a:r>
          <a:endParaRPr lang="en-US" sz="1700" kern="1200"/>
        </a:p>
      </dsp:txBody>
      <dsp:txXfrm>
        <a:off x="0" y="3430538"/>
        <a:ext cx="11144474" cy="2142000"/>
      </dsp:txXfrm>
    </dsp:sp>
    <dsp:sp modelId="{89DAF6F2-441E-411B-A709-5BCA0EF94829}">
      <dsp:nvSpPr>
        <dsp:cNvPr id="0" name=""/>
        <dsp:cNvSpPr/>
      </dsp:nvSpPr>
      <dsp:spPr>
        <a:xfrm>
          <a:off x="557223" y="3179618"/>
          <a:ext cx="7801131" cy="50184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kern="1200" dirty="0"/>
            <a:t>DOP Feedback</a:t>
          </a:r>
        </a:p>
      </dsp:txBody>
      <dsp:txXfrm>
        <a:off x="581721" y="3204116"/>
        <a:ext cx="7752135" cy="45284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44146"/>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64550"/>
        <a:ext cx="1004180" cy="655850"/>
      </dsp:txXfrm>
    </dsp:sp>
    <dsp:sp modelId="{2A969FB1-A0CA-4BCB-9811-B1C2A2D37CF2}">
      <dsp:nvSpPr>
        <dsp:cNvPr id="0" name=""/>
        <dsp:cNvSpPr/>
      </dsp:nvSpPr>
      <dsp:spPr>
        <a:xfrm>
          <a:off x="3244411" y="2440805"/>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71946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39872"/>
        <a:ext cx="1004180" cy="655850"/>
      </dsp:txXfrm>
    </dsp:sp>
    <dsp:sp modelId="{9B0BC5A7-6A70-41C3-871D-416E6CE7FB15}">
      <dsp:nvSpPr>
        <dsp:cNvPr id="0" name=""/>
        <dsp:cNvSpPr/>
      </dsp:nvSpPr>
      <dsp:spPr>
        <a:xfrm>
          <a:off x="527442" y="3416127"/>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715195"/>
        <a:ext cx="1004180" cy="655850"/>
      </dsp:txXfrm>
    </dsp:sp>
    <dsp:sp modelId="{52433208-80E6-4924-B192-66BA710CE757}">
      <dsp:nvSpPr>
        <dsp:cNvPr id="0" name=""/>
        <dsp:cNvSpPr/>
      </dsp:nvSpPr>
      <dsp:spPr>
        <a:xfrm>
          <a:off x="1885927" y="3416127"/>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715195"/>
        <a:ext cx="1004180" cy="655850"/>
      </dsp:txXfrm>
    </dsp:sp>
    <dsp:sp modelId="{BF248486-F648-4871-903F-93B482640036}">
      <dsp:nvSpPr>
        <dsp:cNvPr id="0" name=""/>
        <dsp:cNvSpPr/>
      </dsp:nvSpPr>
      <dsp:spPr>
        <a:xfrm>
          <a:off x="3198691" y="3416127"/>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94791"/>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715195"/>
        <a:ext cx="1004180" cy="655850"/>
      </dsp:txXfrm>
    </dsp:sp>
    <dsp:sp modelId="{5690923D-9059-4138-8ACF-90D405019F80}">
      <dsp:nvSpPr>
        <dsp:cNvPr id="0" name=""/>
        <dsp:cNvSpPr/>
      </dsp:nvSpPr>
      <dsp:spPr>
        <a:xfrm>
          <a:off x="1885927" y="4391450"/>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7011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90517"/>
        <a:ext cx="1004180" cy="655850"/>
      </dsp:txXfrm>
    </dsp:sp>
    <dsp:sp modelId="{810926B5-7D25-4DDF-8B56-5D578BE910C7}">
      <dsp:nvSpPr>
        <dsp:cNvPr id="0" name=""/>
        <dsp:cNvSpPr/>
      </dsp:nvSpPr>
      <dsp:spPr>
        <a:xfrm>
          <a:off x="3198691" y="4391450"/>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7011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90517"/>
        <a:ext cx="1004180" cy="655850"/>
      </dsp:txXfrm>
    </dsp:sp>
    <dsp:sp modelId="{5CC0C396-8377-475C-A00D-7F8341A1F477}">
      <dsp:nvSpPr>
        <dsp:cNvPr id="0" name=""/>
        <dsp:cNvSpPr/>
      </dsp:nvSpPr>
      <dsp:spPr>
        <a:xfrm>
          <a:off x="3244411" y="4391450"/>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7011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90517"/>
        <a:ext cx="1004180" cy="655850"/>
      </dsp:txXfrm>
    </dsp:sp>
    <dsp:sp modelId="{D0464A9B-83F7-4A2D-94B3-57ED5F3C091B}">
      <dsp:nvSpPr>
        <dsp:cNvPr id="0" name=""/>
        <dsp:cNvSpPr/>
      </dsp:nvSpPr>
      <dsp:spPr>
        <a:xfrm>
          <a:off x="3244411" y="3416127"/>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715195"/>
        <a:ext cx="1004180" cy="655850"/>
      </dsp:txXfrm>
    </dsp:sp>
    <dsp:sp modelId="{BC3E3219-39C3-4268-83EE-67E130107410}">
      <dsp:nvSpPr>
        <dsp:cNvPr id="0" name=""/>
        <dsp:cNvSpPr/>
      </dsp:nvSpPr>
      <dsp:spPr>
        <a:xfrm>
          <a:off x="3244411" y="3416127"/>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715195"/>
        <a:ext cx="1004180" cy="655850"/>
      </dsp:txXfrm>
    </dsp:sp>
    <dsp:sp modelId="{54FE398B-EB4B-4376-8CAD-D5884C340DB3}">
      <dsp:nvSpPr>
        <dsp:cNvPr id="0" name=""/>
        <dsp:cNvSpPr/>
      </dsp:nvSpPr>
      <dsp:spPr>
        <a:xfrm>
          <a:off x="4602896" y="2440805"/>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39872"/>
        <a:ext cx="1004180" cy="655850"/>
      </dsp:txXfrm>
    </dsp:sp>
    <dsp:sp modelId="{54FC7E62-6BC8-4117-AE83-F7D461A58C56}">
      <dsp:nvSpPr>
        <dsp:cNvPr id="0" name=""/>
        <dsp:cNvSpPr/>
      </dsp:nvSpPr>
      <dsp:spPr>
        <a:xfrm>
          <a:off x="5961381" y="2440805"/>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39872"/>
        <a:ext cx="1004180" cy="655850"/>
      </dsp:txXfrm>
    </dsp:sp>
    <dsp:sp modelId="{8348335F-5BEF-45E6-9491-BE36F00A5827}">
      <dsp:nvSpPr>
        <dsp:cNvPr id="0" name=""/>
        <dsp:cNvSpPr/>
      </dsp:nvSpPr>
      <dsp:spPr>
        <a:xfrm>
          <a:off x="7274145" y="2440805"/>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39872"/>
        <a:ext cx="1004180" cy="655850"/>
      </dsp:txXfrm>
    </dsp:sp>
    <dsp:sp modelId="{6BEB96AB-5069-4522-8BFE-22AE1E1907A1}">
      <dsp:nvSpPr>
        <dsp:cNvPr id="0" name=""/>
        <dsp:cNvSpPr/>
      </dsp:nvSpPr>
      <dsp:spPr>
        <a:xfrm>
          <a:off x="7319865" y="2440805"/>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39872"/>
        <a:ext cx="1004180" cy="655850"/>
      </dsp:txXfrm>
    </dsp:sp>
    <dsp:sp modelId="{29F63BC1-C5FC-44AA-8F97-ECEF56FF0ECF}">
      <dsp:nvSpPr>
        <dsp:cNvPr id="0" name=""/>
        <dsp:cNvSpPr/>
      </dsp:nvSpPr>
      <dsp:spPr>
        <a:xfrm>
          <a:off x="7999107" y="3416127"/>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9479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715195"/>
        <a:ext cx="1004180" cy="655850"/>
      </dsp:txXfrm>
    </dsp:sp>
    <dsp:sp modelId="{A1CDEA6C-5A4D-425A-B7B4-C84037695A33}">
      <dsp:nvSpPr>
        <dsp:cNvPr id="0" name=""/>
        <dsp:cNvSpPr/>
      </dsp:nvSpPr>
      <dsp:spPr>
        <a:xfrm>
          <a:off x="8678350" y="3416127"/>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715195"/>
        <a:ext cx="1004180" cy="655850"/>
      </dsp:txXfrm>
    </dsp:sp>
    <dsp:sp modelId="{8DDD6173-394C-4FB2-BC82-61F43C652D15}">
      <dsp:nvSpPr>
        <dsp:cNvPr id="0" name=""/>
        <dsp:cNvSpPr/>
      </dsp:nvSpPr>
      <dsp:spPr>
        <a:xfrm>
          <a:off x="7319865" y="2440805"/>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15D99110-6036-4A11-BDFA-BD4F32352803}">
      <dsp:nvSpPr>
        <dsp:cNvPr id="0" name=""/>
        <dsp:cNvSpPr/>
      </dsp:nvSpPr>
      <dsp:spPr>
        <a:xfrm>
          <a:off x="9514340"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39872"/>
        <a:ext cx="1004180" cy="655850"/>
      </dsp:txXfrm>
    </dsp:sp>
    <dsp:sp modelId="{09C8B667-CAD7-4DC0-985B-9B8F058B52AE}">
      <dsp:nvSpPr>
        <dsp:cNvPr id="0" name=""/>
        <dsp:cNvSpPr/>
      </dsp:nvSpPr>
      <dsp:spPr>
        <a:xfrm>
          <a:off x="7319865" y="2440805"/>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39872"/>
        <a:ext cx="1004180" cy="6558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059FA-74DB-468F-A5C9-0AE5F006D671}">
      <dsp:nvSpPr>
        <dsp:cNvPr id="0" name=""/>
        <dsp:cNvSpPr/>
      </dsp:nvSpPr>
      <dsp:spPr>
        <a:xfrm>
          <a:off x="0" y="544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uration is one of the metrics showing potential bottleneck</a:t>
          </a:r>
          <a:endParaRPr lang="en-US" sz="2400" kern="1200" dirty="0"/>
        </a:p>
      </dsp:txBody>
      <dsp:txXfrm>
        <a:off x="59399" y="603805"/>
        <a:ext cx="5550164" cy="1098002"/>
      </dsp:txXfrm>
    </dsp:sp>
    <dsp:sp modelId="{5CBB367B-9C40-4F92-8C31-83DFA994EF25}">
      <dsp:nvSpPr>
        <dsp:cNvPr id="0" name=""/>
        <dsp:cNvSpPr/>
      </dsp:nvSpPr>
      <dsp:spPr>
        <a:xfrm>
          <a:off x="0" y="1948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ng-running queries has potential for:</a:t>
          </a:r>
          <a:endParaRPr lang="en-US" sz="2400" kern="1200" dirty="0"/>
        </a:p>
      </dsp:txBody>
      <dsp:txXfrm>
        <a:off x="59399" y="2007805"/>
        <a:ext cx="5550164" cy="1098002"/>
      </dsp:txXfrm>
    </dsp:sp>
    <dsp:sp modelId="{9AE7F440-4AD2-4E9D-A0E1-38F266616FB0}">
      <dsp:nvSpPr>
        <dsp:cNvPr id="0" name=""/>
        <dsp:cNvSpPr/>
      </dsp:nvSpPr>
      <dsp:spPr>
        <a:xfrm>
          <a:off x="0" y="3165206"/>
          <a:ext cx="5668962"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9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Longer locks</a:t>
          </a:r>
          <a:endParaRPr lang="en-US" sz="2000" kern="1200" dirty="0"/>
        </a:p>
        <a:p>
          <a:pPr marL="228600" lvl="1" indent="-228600" algn="l" defTabSz="889000">
            <a:lnSpc>
              <a:spcPct val="90000"/>
            </a:lnSpc>
            <a:spcBef>
              <a:spcPct val="0"/>
            </a:spcBef>
            <a:spcAft>
              <a:spcPct val="20000"/>
            </a:spcAft>
            <a:buChar char="•"/>
          </a:pPr>
          <a:r>
            <a:rPr lang="en-US" sz="2000" kern="1200" baseline="0" dirty="0"/>
            <a:t>Blocking other users</a:t>
          </a:r>
          <a:endParaRPr lang="en-US" sz="2000" kern="1200" dirty="0"/>
        </a:p>
        <a:p>
          <a:pPr marL="228600" lvl="1" indent="-228600" algn="l" defTabSz="889000">
            <a:lnSpc>
              <a:spcPct val="90000"/>
            </a:lnSpc>
            <a:spcBef>
              <a:spcPct val="0"/>
            </a:spcBef>
            <a:spcAft>
              <a:spcPct val="20000"/>
            </a:spcAft>
            <a:buChar char="•"/>
          </a:pPr>
          <a:r>
            <a:rPr lang="en-US" sz="2000" kern="1200" baseline="0" dirty="0"/>
            <a:t>Limiting scalability</a:t>
          </a:r>
          <a:endParaRPr lang="en-US" sz="2000" kern="1200" dirty="0"/>
        </a:p>
      </dsp:txBody>
      <dsp:txXfrm>
        <a:off x="0" y="3165206"/>
        <a:ext cx="5668962" cy="1110037"/>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817F6-7E7B-4BC8-AAFF-67C88A40C72E}">
      <dsp:nvSpPr>
        <dsp:cNvPr id="0" name=""/>
        <dsp:cNvSpPr/>
      </dsp:nvSpPr>
      <dsp:spPr>
        <a:xfrm>
          <a:off x="20566" y="526"/>
          <a:ext cx="3198819" cy="213254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dirty="0"/>
            <a:t>Approximate Count Distinct</a:t>
          </a:r>
        </a:p>
      </dsp:txBody>
      <dsp:txXfrm>
        <a:off x="83026" y="62986"/>
        <a:ext cx="3073899" cy="2007626"/>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C4E6B8-E737-4EA3-946D-204FEE6DF5C8}">
      <dsp:nvSpPr>
        <dsp:cNvPr id="0" name=""/>
        <dsp:cNvSpPr/>
      </dsp:nvSpPr>
      <dsp:spPr>
        <a:xfrm>
          <a:off x="0" y="190371"/>
          <a:ext cx="8036562" cy="81000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returns the approximate number of unique non-null values in a group.</a:t>
          </a:r>
        </a:p>
      </dsp:txBody>
      <dsp:txXfrm>
        <a:off x="39541" y="229912"/>
        <a:ext cx="7957480" cy="730923"/>
      </dsp:txXfrm>
    </dsp:sp>
    <dsp:sp modelId="{9F038A8D-39BC-47AA-ACC4-A95DB4CF1C1E}">
      <dsp:nvSpPr>
        <dsp:cNvPr id="0" name=""/>
        <dsp:cNvSpPr/>
      </dsp:nvSpPr>
      <dsp:spPr>
        <a:xfrm>
          <a:off x="0" y="1055097"/>
          <a:ext cx="8036562" cy="81000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is designed to provide aggregations across large data sets where responsiveness is more critical than absolute precision.</a:t>
          </a:r>
        </a:p>
      </dsp:txBody>
      <dsp:txXfrm>
        <a:off x="39541" y="1094638"/>
        <a:ext cx="7957480" cy="730923"/>
      </dsp:txXfrm>
    </dsp:sp>
    <dsp:sp modelId="{C1717981-FC5D-499C-806F-34DF3B17A326}">
      <dsp:nvSpPr>
        <dsp:cNvPr id="0" name=""/>
        <dsp:cNvSpPr/>
      </dsp:nvSpPr>
      <dsp:spPr>
        <a:xfrm>
          <a:off x="0" y="1919823"/>
          <a:ext cx="8036562" cy="81000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Guarantees up to a 2% error rate within a 97% probability.</a:t>
          </a:r>
        </a:p>
      </dsp:txBody>
      <dsp:txXfrm>
        <a:off x="39541" y="1959364"/>
        <a:ext cx="7957480" cy="730923"/>
      </dsp:txXfrm>
    </dsp:sp>
    <dsp:sp modelId="{38B006AA-3546-49BA-9CAC-4056BC1BE1B5}">
      <dsp:nvSpPr>
        <dsp:cNvPr id="0" name=""/>
        <dsp:cNvSpPr/>
      </dsp:nvSpPr>
      <dsp:spPr>
        <a:xfrm>
          <a:off x="0" y="2784548"/>
          <a:ext cx="8036562" cy="81000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Requires less memory than an exhaustive COUNT DISTINCT operation so it is less likely to spill memory to disk compared to COUNT DISTINCT. </a:t>
          </a:r>
        </a:p>
      </dsp:txBody>
      <dsp:txXfrm>
        <a:off x="39541" y="2824089"/>
        <a:ext cx="7957480" cy="730923"/>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101662" y="38218"/>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Intelligent Query Processing</a:t>
          </a:r>
        </a:p>
      </dsp:txBody>
      <dsp:txXfrm>
        <a:off x="4142732" y="79288"/>
        <a:ext cx="2021203" cy="1320089"/>
      </dsp:txXfrm>
    </dsp:sp>
    <dsp:sp modelId="{54FE398B-EB4B-4376-8CAD-D5884C340DB3}">
      <dsp:nvSpPr>
        <dsp:cNvPr id="0" name=""/>
        <dsp:cNvSpPr/>
      </dsp:nvSpPr>
      <dsp:spPr>
        <a:xfrm>
          <a:off x="1051814" y="1440447"/>
          <a:ext cx="4101520" cy="560891"/>
        </a:xfrm>
        <a:custGeom>
          <a:avLst/>
          <a:gdLst/>
          <a:ahLst/>
          <a:cxnLst/>
          <a:rect l="0" t="0" r="0" b="0"/>
          <a:pathLst>
            <a:path>
              <a:moveTo>
                <a:pt x="4101520" y="0"/>
              </a:moveTo>
              <a:lnTo>
                <a:pt x="4101520" y="280445"/>
              </a:lnTo>
              <a:lnTo>
                <a:pt x="0" y="280445"/>
              </a:lnTo>
              <a:lnTo>
                <a:pt x="0" y="560891"/>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ble Variable Deferred Compilation</a:t>
          </a:r>
        </a:p>
      </dsp:txBody>
      <dsp:txXfrm>
        <a:off x="41212" y="2042409"/>
        <a:ext cx="2021203" cy="1320089"/>
      </dsp:txXfrm>
    </dsp:sp>
    <dsp:sp modelId="{54FC7E62-6BC8-4117-AE83-F7D461A58C56}">
      <dsp:nvSpPr>
        <dsp:cNvPr id="0" name=""/>
        <dsp:cNvSpPr/>
      </dsp:nvSpPr>
      <dsp:spPr>
        <a:xfrm>
          <a:off x="3786160" y="1440447"/>
          <a:ext cx="1367173" cy="560891"/>
        </a:xfrm>
        <a:custGeom>
          <a:avLst/>
          <a:gdLst/>
          <a:ahLst/>
          <a:cxnLst/>
          <a:rect l="0" t="0" r="0" b="0"/>
          <a:pathLst>
            <a:path>
              <a:moveTo>
                <a:pt x="1367173" y="0"/>
              </a:moveTo>
              <a:lnTo>
                <a:pt x="1367173" y="280445"/>
              </a:lnTo>
              <a:lnTo>
                <a:pt x="0" y="280445"/>
              </a:lnTo>
              <a:lnTo>
                <a:pt x="0" y="560891"/>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734489"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Batch Mode On Rowstore Indexes</a:t>
          </a:r>
        </a:p>
      </dsp:txBody>
      <dsp:txXfrm>
        <a:off x="2775559" y="2042409"/>
        <a:ext cx="2021203" cy="1320089"/>
      </dsp:txXfrm>
    </dsp:sp>
    <dsp:sp modelId="{8348335F-5BEF-45E6-9491-BE36F00A5827}">
      <dsp:nvSpPr>
        <dsp:cNvPr id="0" name=""/>
        <dsp:cNvSpPr/>
      </dsp:nvSpPr>
      <dsp:spPr>
        <a:xfrm>
          <a:off x="5153334" y="1440447"/>
          <a:ext cx="1367173" cy="560891"/>
        </a:xfrm>
        <a:custGeom>
          <a:avLst/>
          <a:gdLst/>
          <a:ahLst/>
          <a:cxnLst/>
          <a:rect l="0" t="0" r="0" b="0"/>
          <a:pathLst>
            <a:path>
              <a:moveTo>
                <a:pt x="0" y="0"/>
              </a:moveTo>
              <a:lnTo>
                <a:pt x="0" y="280445"/>
              </a:lnTo>
              <a:lnTo>
                <a:pt x="1367173" y="280445"/>
              </a:lnTo>
              <a:lnTo>
                <a:pt x="1367173" y="560891"/>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5468835"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calar UDF Inlining</a:t>
          </a:r>
        </a:p>
      </dsp:txBody>
      <dsp:txXfrm>
        <a:off x="5509905" y="2042409"/>
        <a:ext cx="2021203" cy="1320089"/>
      </dsp:txXfrm>
    </dsp:sp>
    <dsp:sp modelId="{6BEB96AB-5069-4522-8BFE-22AE1E1907A1}">
      <dsp:nvSpPr>
        <dsp:cNvPr id="0" name=""/>
        <dsp:cNvSpPr/>
      </dsp:nvSpPr>
      <dsp:spPr>
        <a:xfrm>
          <a:off x="5153334" y="1440447"/>
          <a:ext cx="4101520" cy="560891"/>
        </a:xfrm>
        <a:custGeom>
          <a:avLst/>
          <a:gdLst/>
          <a:ahLst/>
          <a:cxnLst/>
          <a:rect l="0" t="0" r="0" b="0"/>
          <a:pathLst>
            <a:path>
              <a:moveTo>
                <a:pt x="0" y="0"/>
              </a:moveTo>
              <a:lnTo>
                <a:pt x="0" y="280445"/>
              </a:lnTo>
              <a:lnTo>
                <a:pt x="4101520" y="280445"/>
              </a:lnTo>
              <a:lnTo>
                <a:pt x="4101520" y="560891"/>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203182"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Query Processing</a:t>
          </a:r>
        </a:p>
      </dsp:txBody>
      <dsp:txXfrm>
        <a:off x="8244252" y="2042409"/>
        <a:ext cx="2021203" cy="1320089"/>
      </dsp:txXfrm>
    </dsp:sp>
    <dsp:sp modelId="{29F63BC1-C5FC-44AA-8F97-ECEF56FF0ECF}">
      <dsp:nvSpPr>
        <dsp:cNvPr id="0" name=""/>
        <dsp:cNvSpPr/>
      </dsp:nvSpPr>
      <dsp:spPr>
        <a:xfrm>
          <a:off x="7887681" y="3403568"/>
          <a:ext cx="1367173" cy="560891"/>
        </a:xfrm>
        <a:custGeom>
          <a:avLst/>
          <a:gdLst/>
          <a:ahLst/>
          <a:cxnLst/>
          <a:rect l="0" t="0" r="0" b="0"/>
          <a:pathLst>
            <a:path>
              <a:moveTo>
                <a:pt x="1367173" y="0"/>
              </a:moveTo>
              <a:lnTo>
                <a:pt x="1367173" y="280445"/>
              </a:lnTo>
              <a:lnTo>
                <a:pt x="0" y="280445"/>
              </a:lnTo>
              <a:lnTo>
                <a:pt x="0" y="560891"/>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6836009" y="3964460"/>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Count Distinct</a:t>
          </a:r>
        </a:p>
      </dsp:txBody>
      <dsp:txXfrm>
        <a:off x="6877079" y="4005530"/>
        <a:ext cx="2021203" cy="1320089"/>
      </dsp:txXfrm>
    </dsp:sp>
    <dsp:sp modelId="{889A4762-3DAB-4D3A-970C-9B5EB089C878}">
      <dsp:nvSpPr>
        <dsp:cNvPr id="0" name=""/>
        <dsp:cNvSpPr/>
      </dsp:nvSpPr>
      <dsp:spPr>
        <a:xfrm>
          <a:off x="9254854" y="3403568"/>
          <a:ext cx="1367173" cy="560891"/>
        </a:xfrm>
        <a:custGeom>
          <a:avLst/>
          <a:gdLst/>
          <a:ahLst/>
          <a:cxnLst/>
          <a:rect l="0" t="0" r="0" b="0"/>
          <a:pathLst>
            <a:path>
              <a:moveTo>
                <a:pt x="0" y="0"/>
              </a:moveTo>
              <a:lnTo>
                <a:pt x="0" y="280445"/>
              </a:lnTo>
              <a:lnTo>
                <a:pt x="1367173" y="280445"/>
              </a:lnTo>
              <a:lnTo>
                <a:pt x="1367173" y="560891"/>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9570355" y="3964460"/>
          <a:ext cx="2103343" cy="1402229"/>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Percentile</a:t>
          </a:r>
        </a:p>
      </dsp:txBody>
      <dsp:txXfrm>
        <a:off x="9611425" y="4005530"/>
        <a:ext cx="2021203" cy="1320089"/>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9E74D5E-EF10-47B0-A9D3-2293E202AE2C}">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F65BB58-1B93-4E6B-B945-953C7DA0DB73}">
      <dsp:nvSpPr>
        <dsp:cNvPr id="0" name=""/>
        <dsp:cNvSpPr/>
      </dsp:nvSpPr>
      <dsp:spPr>
        <a:xfrm>
          <a:off x="8093312" y="218374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3697" y="2214128"/>
        <a:ext cx="1495362" cy="976651"/>
      </dsp:txXfrm>
    </dsp:sp>
    <dsp:sp modelId="{7AA21635-E323-4213-93F2-9043E3D4FE8B}">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10116284" y="2183743"/>
          <a:ext cx="1556132" cy="10060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arameter Sensitive Plan Optimization</a:t>
          </a:r>
        </a:p>
      </dsp:txBody>
      <dsp:txXfrm>
        <a:off x="10145751" y="2213210"/>
        <a:ext cx="1497198" cy="9471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059FA-74DB-468F-A5C9-0AE5F006D671}">
      <dsp:nvSpPr>
        <dsp:cNvPr id="0" name=""/>
        <dsp:cNvSpPr/>
      </dsp:nvSpPr>
      <dsp:spPr>
        <a:xfrm>
          <a:off x="0" y="544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ecution count is one of the metrics showing potential bottleneck</a:t>
          </a:r>
          <a:endParaRPr lang="en-US" sz="2400" kern="1200" dirty="0"/>
        </a:p>
      </dsp:txBody>
      <dsp:txXfrm>
        <a:off x="59399" y="603805"/>
        <a:ext cx="5550164" cy="1098002"/>
      </dsp:txXfrm>
    </dsp:sp>
    <dsp:sp modelId="{5CBB367B-9C40-4F92-8C31-83DFA994EF25}">
      <dsp:nvSpPr>
        <dsp:cNvPr id="0" name=""/>
        <dsp:cNvSpPr/>
      </dsp:nvSpPr>
      <dsp:spPr>
        <a:xfrm>
          <a:off x="0" y="1948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High number </a:t>
          </a:r>
          <a:r>
            <a:rPr lang="en-US" sz="2400" kern="1200" baseline="0" dirty="0" err="1"/>
            <a:t>og</a:t>
          </a:r>
          <a:r>
            <a:rPr lang="en-US" sz="2400" kern="1200" baseline="0" dirty="0"/>
            <a:t> executions has potential for:</a:t>
          </a:r>
          <a:endParaRPr lang="en-US" sz="2400" kern="1200" dirty="0"/>
        </a:p>
      </dsp:txBody>
      <dsp:txXfrm>
        <a:off x="59399" y="2007805"/>
        <a:ext cx="5550164" cy="1098002"/>
      </dsp:txXfrm>
    </dsp:sp>
    <dsp:sp modelId="{9AE7F440-4AD2-4E9D-A0E1-38F266616FB0}">
      <dsp:nvSpPr>
        <dsp:cNvPr id="0" name=""/>
        <dsp:cNvSpPr/>
      </dsp:nvSpPr>
      <dsp:spPr>
        <a:xfrm>
          <a:off x="0" y="3165206"/>
          <a:ext cx="5668962"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9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Database performance</a:t>
          </a:r>
          <a:endParaRPr lang="en-US" sz="2000" kern="1200" dirty="0"/>
        </a:p>
        <a:p>
          <a:pPr marL="228600" lvl="1" indent="-228600" algn="l" defTabSz="889000">
            <a:lnSpc>
              <a:spcPct val="90000"/>
            </a:lnSpc>
            <a:spcBef>
              <a:spcPct val="0"/>
            </a:spcBef>
            <a:spcAft>
              <a:spcPct val="20000"/>
            </a:spcAft>
            <a:buChar char="•"/>
          </a:pPr>
          <a:r>
            <a:rPr lang="en-US" sz="2000" kern="1200" dirty="0"/>
            <a:t>Network latency</a:t>
          </a:r>
        </a:p>
        <a:p>
          <a:pPr marL="228600" lvl="1" indent="-228600" algn="l" defTabSz="889000">
            <a:lnSpc>
              <a:spcPct val="90000"/>
            </a:lnSpc>
            <a:spcBef>
              <a:spcPct val="0"/>
            </a:spcBef>
            <a:spcAft>
              <a:spcPct val="20000"/>
            </a:spcAft>
            <a:buChar char="•"/>
          </a:pPr>
          <a:r>
            <a:rPr lang="en-US" sz="2000" kern="1200" dirty="0"/>
            <a:t>Downstream server latency</a:t>
          </a:r>
        </a:p>
      </dsp:txBody>
      <dsp:txXfrm>
        <a:off x="0" y="3165206"/>
        <a:ext cx="5668962" cy="1110037"/>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88546"/>
          <a:ext cx="11144474" cy="1850625"/>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520700"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b="0" i="0" kern="1200" dirty="0"/>
            <a:t>Query optimization and compilation is a multi-phased process of quickly generating a “good-enough” query execution plan</a:t>
          </a:r>
          <a:endParaRPr lang="en-US" sz="1800" b="0" kern="1200" dirty="0"/>
        </a:p>
        <a:p>
          <a:pPr marL="171450" lvl="1" indent="-171450" algn="l" defTabSz="800100">
            <a:lnSpc>
              <a:spcPct val="90000"/>
            </a:lnSpc>
            <a:spcBef>
              <a:spcPct val="0"/>
            </a:spcBef>
            <a:spcAft>
              <a:spcPct val="15000"/>
            </a:spcAft>
            <a:buChar char="•"/>
          </a:pPr>
          <a:r>
            <a:rPr lang="en-US" sz="1800" b="0" i="0" kern="1200" dirty="0"/>
            <a:t>Query execution time includes compilation. Can be time and resource consuming</a:t>
          </a:r>
          <a:endParaRPr lang="en-US" sz="1800" kern="1200" dirty="0">
            <a:latin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Char char="•"/>
          </a:pPr>
          <a:r>
            <a:rPr lang="en-US" sz="1800" b="0" i="0" kern="1200" dirty="0"/>
            <a:t>To reduce compilation overhead for repeating queries, SQL caches query plans for re-use</a:t>
          </a:r>
          <a:endParaRPr lang="en-US" sz="1800" kern="1200" dirty="0">
            <a:latin typeface="Segoe UI" panose="020B0502040204020203" pitchFamily="34" charset="0"/>
            <a:cs typeface="Segoe UI" panose="020B0502040204020203" pitchFamily="34" charset="0"/>
          </a:endParaRPr>
        </a:p>
      </dsp:txBody>
      <dsp:txXfrm>
        <a:off x="0" y="388546"/>
        <a:ext cx="11144474" cy="1850625"/>
      </dsp:txXfrm>
    </dsp:sp>
    <dsp:sp modelId="{09DF4224-3D80-47D7-B2BA-0A0BBC33BA22}">
      <dsp:nvSpPr>
        <dsp:cNvPr id="0" name=""/>
        <dsp:cNvSpPr/>
      </dsp:nvSpPr>
      <dsp:spPr>
        <a:xfrm>
          <a:off x="557223" y="19546"/>
          <a:ext cx="7801131" cy="738000"/>
        </a:xfrm>
        <a:prstGeom prst="round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1066800">
            <a:lnSpc>
              <a:spcPct val="90000"/>
            </a:lnSpc>
            <a:spcBef>
              <a:spcPct val="0"/>
            </a:spcBef>
            <a:spcAft>
              <a:spcPct val="35000"/>
            </a:spcAft>
            <a:buNone/>
          </a:pPr>
          <a:r>
            <a:rPr lang="en-US" sz="2400" b="1" kern="1200" dirty="0"/>
            <a:t>Query Compilation Today</a:t>
          </a:r>
        </a:p>
      </dsp:txBody>
      <dsp:txXfrm>
        <a:off x="593249" y="55572"/>
        <a:ext cx="7729079" cy="665948"/>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7240B6-7431-4D5B-9770-7BBD09BEEFA0}">
      <dsp:nvSpPr>
        <dsp:cNvPr id="0" name=""/>
        <dsp:cNvSpPr/>
      </dsp:nvSpPr>
      <dsp:spPr>
        <a:xfrm>
          <a:off x="752214" y="884579"/>
          <a:ext cx="2546593" cy="16552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Plans can be evicted from cache due to restarts or memory pressure</a:t>
          </a:r>
          <a:endParaRPr lang="en-US" sz="1600" kern="1200" dirty="0">
            <a:latin typeface="Segoe UI" panose="020B0502040204020203" pitchFamily="34" charset="0"/>
            <a:cs typeface="Segoe UI" panose="020B0502040204020203" pitchFamily="34" charset="0"/>
          </a:endParaRPr>
        </a:p>
      </dsp:txBody>
      <dsp:txXfrm>
        <a:off x="833018" y="965383"/>
        <a:ext cx="2384985" cy="1493677"/>
      </dsp:txXfrm>
    </dsp:sp>
    <dsp:sp modelId="{F199BF73-C33E-4EB4-A900-D6729BE99A24}">
      <dsp:nvSpPr>
        <dsp:cNvPr id="0" name=""/>
        <dsp:cNvSpPr/>
      </dsp:nvSpPr>
      <dsp:spPr>
        <a:xfrm>
          <a:off x="2025510" y="306533"/>
          <a:ext cx="2811376" cy="2811376"/>
        </a:xfrm>
        <a:custGeom>
          <a:avLst/>
          <a:gdLst/>
          <a:ahLst/>
          <a:cxnLst/>
          <a:rect l="0" t="0" r="0" b="0"/>
          <a:pathLst>
            <a:path>
              <a:moveTo>
                <a:pt x="591304" y="259940"/>
              </a:moveTo>
              <a:arcTo wR="1405688" hR="1405688" stAng="14075715" swAng="4248569"/>
            </a:path>
          </a:pathLst>
        </a:custGeom>
        <a:noFill/>
        <a:ln w="9525" cap="flat" cmpd="sng" algn="ctr">
          <a:solidFill>
            <a:schemeClr val="accent5">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286F8BD2-898A-4C98-8968-C54AFB0ACCD0}">
      <dsp:nvSpPr>
        <dsp:cNvPr id="0" name=""/>
        <dsp:cNvSpPr/>
      </dsp:nvSpPr>
      <dsp:spPr>
        <a:xfrm>
          <a:off x="3563590" y="884579"/>
          <a:ext cx="2546593" cy="16552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Subsequent calls to the query require a full new compilation</a:t>
          </a:r>
          <a:endParaRPr lang="en-US" sz="1600" kern="1200" dirty="0">
            <a:latin typeface="Segoe UI" panose="020B0502040204020203" pitchFamily="34" charset="0"/>
            <a:cs typeface="Segoe UI" panose="020B0502040204020203" pitchFamily="34" charset="0"/>
          </a:endParaRPr>
        </a:p>
      </dsp:txBody>
      <dsp:txXfrm>
        <a:off x="3644394" y="965383"/>
        <a:ext cx="2384985" cy="1493677"/>
      </dsp:txXfrm>
    </dsp:sp>
    <dsp:sp modelId="{0F332F37-F7B9-4F1F-85F7-35ACAAD08A55}">
      <dsp:nvSpPr>
        <dsp:cNvPr id="0" name=""/>
        <dsp:cNvSpPr/>
      </dsp:nvSpPr>
      <dsp:spPr>
        <a:xfrm>
          <a:off x="2025510" y="306533"/>
          <a:ext cx="2811376" cy="2811376"/>
        </a:xfrm>
        <a:custGeom>
          <a:avLst/>
          <a:gdLst/>
          <a:ahLst/>
          <a:cxnLst/>
          <a:rect l="0" t="0" r="0" b="0"/>
          <a:pathLst>
            <a:path>
              <a:moveTo>
                <a:pt x="2220072" y="2551436"/>
              </a:moveTo>
              <a:arcTo wR="1405688" hR="1405688" stAng="3275715" swAng="4248569"/>
            </a:path>
          </a:pathLst>
        </a:custGeom>
        <a:noFill/>
        <a:ln w="9525" cap="flat" cmpd="sng" algn="ctr">
          <a:solidFill>
            <a:schemeClr val="accent5">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27420-5C6C-4D72-AEC0-56A4B040BD2E}">
      <dsp:nvSpPr>
        <dsp:cNvPr id="0" name=""/>
        <dsp:cNvSpPr/>
      </dsp:nvSpPr>
      <dsp:spPr>
        <a:xfrm>
          <a:off x="0" y="0"/>
          <a:ext cx="11144474" cy="1216800"/>
        </a:xfrm>
        <a:prstGeom prst="round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Query Compilation Replay</a:t>
          </a:r>
          <a:endParaRPr lang="en-US" sz="2400" b="1" kern="1200" dirty="0"/>
        </a:p>
      </dsp:txBody>
      <dsp:txXfrm>
        <a:off x="59399" y="59399"/>
        <a:ext cx="11025676" cy="1098002"/>
      </dsp:txXfrm>
    </dsp:sp>
    <dsp:sp modelId="{AE3B6265-E121-46EA-BA53-EF8CA4BD0DB2}">
      <dsp:nvSpPr>
        <dsp:cNvPr id="0" name=""/>
        <dsp:cNvSpPr/>
      </dsp:nvSpPr>
      <dsp:spPr>
        <a:xfrm>
          <a:off x="0" y="1290533"/>
          <a:ext cx="11144474" cy="2892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0" i="0" kern="1200" dirty="0">
              <a:latin typeface="+mn-lt"/>
            </a:rPr>
            <a:t>Stores a </a:t>
          </a:r>
          <a:r>
            <a:rPr lang="en-US" sz="2400" b="0" i="1" kern="1200" dirty="0">
              <a:latin typeface="+mn-lt"/>
            </a:rPr>
            <a:t>compilation replay script </a:t>
          </a:r>
          <a:r>
            <a:rPr lang="en-US" sz="2400" b="0" i="0" kern="1200" dirty="0">
              <a:latin typeface="+mn-lt"/>
            </a:rPr>
            <a:t>(CRS) that persists key compilation steps in Query Store (not user visible)</a:t>
          </a:r>
          <a:endParaRPr lang="en-US" sz="2400" b="1" kern="1200" dirty="0">
            <a:latin typeface="+mn-lt"/>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Version 1 targets previously forced plans through Query Store and Automatic Plan Correction</a:t>
          </a:r>
        </a:p>
        <a:p>
          <a:pPr marL="228600" lvl="1" indent="-228600" algn="l" defTabSz="1066800">
            <a:lnSpc>
              <a:spcPct val="90000"/>
            </a:lnSpc>
            <a:spcBef>
              <a:spcPct val="0"/>
            </a:spcBef>
            <a:spcAft>
              <a:spcPct val="20000"/>
            </a:spcAft>
            <a:buChar char="•"/>
          </a:pPr>
          <a:r>
            <a:rPr lang="en-US" sz="2400" b="0" i="0" kern="1200" dirty="0">
              <a:latin typeface="+mn-lt"/>
            </a:rPr>
            <a:t>Uses those previously-recorded CRS to quickly reproduce and cache the original forced plan </a:t>
          </a:r>
          <a:r>
            <a:rPr lang="en-US" sz="2400" b="1" i="0" kern="1200" dirty="0">
              <a:latin typeface="+mn-lt"/>
            </a:rPr>
            <a:t>at a fraction of the original compilation cost</a:t>
          </a:r>
          <a:endParaRPr lang="en-US" sz="2400" kern="1200" dirty="0">
            <a:latin typeface="+mn-lt"/>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Compatible with Query Store hints and secondary replica support</a:t>
          </a:r>
        </a:p>
      </dsp:txBody>
      <dsp:txXfrm>
        <a:off x="0" y="1290533"/>
        <a:ext cx="11144474" cy="2892825"/>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AA21635-E323-4213-93F2-9043E3D4FE8B}">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8093312" y="2183743"/>
          <a:ext cx="1556132" cy="10060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2779" y="2213210"/>
        <a:ext cx="1497198" cy="947157"/>
      </dsp:txXfrm>
    </dsp:sp>
    <dsp:sp modelId="{74C6BCCD-BD7B-426A-9359-D64450E21E2D}">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2AE38C-F0BE-4DE0-9CE7-6AA387AF0EF1}">
      <dsp:nvSpPr>
        <dsp:cNvPr id="0" name=""/>
        <dsp:cNvSpPr/>
      </dsp:nvSpPr>
      <dsp:spPr>
        <a:xfrm>
          <a:off x="10116284" y="218374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arameter </a:t>
          </a:r>
          <a:r>
            <a:rPr lang="en-US" sz="1700" kern="1200" dirty="0"/>
            <a:t>Sensitive Plan Optimization</a:t>
          </a:r>
        </a:p>
      </dsp:txBody>
      <dsp:txXfrm>
        <a:off x="10146669" y="2214128"/>
        <a:ext cx="1495362" cy="976651"/>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9C5CDD-13D0-4971-9C2E-035E71F9BA49}">
      <dsp:nvSpPr>
        <dsp:cNvPr id="0" name=""/>
        <dsp:cNvSpPr/>
      </dsp:nvSpPr>
      <dsp:spPr>
        <a:xfrm>
          <a:off x="0" y="134489"/>
          <a:ext cx="3867960" cy="4890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GB" sz="1900" b="1" kern="1200" dirty="0"/>
            <a:t>Force Last Good Plan:</a:t>
          </a:r>
          <a:r>
            <a:rPr lang="en-GB" sz="1900" kern="1200" dirty="0"/>
            <a:t> </a:t>
          </a:r>
          <a:endParaRPr lang="en-US" sz="1900" kern="1200" dirty="0"/>
        </a:p>
      </dsp:txBody>
      <dsp:txXfrm>
        <a:off x="23874" y="158363"/>
        <a:ext cx="3820212" cy="441312"/>
      </dsp:txXfrm>
    </dsp:sp>
    <dsp:sp modelId="{3332498D-B1B4-4BEE-8E10-B14EBD545110}">
      <dsp:nvSpPr>
        <dsp:cNvPr id="0" name=""/>
        <dsp:cNvSpPr/>
      </dsp:nvSpPr>
      <dsp:spPr>
        <a:xfrm>
          <a:off x="0" y="623550"/>
          <a:ext cx="3867960" cy="1199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GB" sz="1500" kern="1200" dirty="0"/>
            <a:t>Identifies regressed queries due to bad plan and replaces the bad plan with last Good Plan, validates performance improvements and reverts the change if performance does not improve.</a:t>
          </a:r>
          <a:endParaRPr lang="en-US" sz="1500" kern="1200" dirty="0"/>
        </a:p>
      </dsp:txBody>
      <dsp:txXfrm>
        <a:off x="0" y="623550"/>
        <a:ext cx="3867960" cy="1199565"/>
      </dsp:txXfrm>
    </dsp:sp>
    <dsp:sp modelId="{24F84A27-EB51-4E4A-967C-A571E610E2AB}">
      <dsp:nvSpPr>
        <dsp:cNvPr id="0" name=""/>
        <dsp:cNvSpPr/>
      </dsp:nvSpPr>
      <dsp:spPr>
        <a:xfrm>
          <a:off x="0" y="1823115"/>
          <a:ext cx="3867960" cy="4890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GB" sz="1900" b="1" kern="1200"/>
            <a:t>Create Index:</a:t>
          </a:r>
          <a:r>
            <a:rPr lang="en-GB" sz="1900" kern="1200"/>
            <a:t> </a:t>
          </a:r>
          <a:endParaRPr lang="en-US" sz="1900" kern="1200" dirty="0"/>
        </a:p>
      </dsp:txBody>
      <dsp:txXfrm>
        <a:off x="23874" y="1846989"/>
        <a:ext cx="3820212" cy="441312"/>
      </dsp:txXfrm>
    </dsp:sp>
    <dsp:sp modelId="{70F6EA63-FFDB-4F82-8FF1-8F4E36165235}">
      <dsp:nvSpPr>
        <dsp:cNvPr id="0" name=""/>
        <dsp:cNvSpPr/>
      </dsp:nvSpPr>
      <dsp:spPr>
        <a:xfrm>
          <a:off x="0" y="2312174"/>
          <a:ext cx="3867960" cy="7472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GB" sz="1500" kern="1200"/>
            <a:t>Identifies and creates Indexes, validates performance improvements and reverts the change if performance degrades.</a:t>
          </a:r>
          <a:endParaRPr lang="en-US" sz="1500" kern="1200"/>
        </a:p>
      </dsp:txBody>
      <dsp:txXfrm>
        <a:off x="0" y="2312174"/>
        <a:ext cx="3867960" cy="747270"/>
      </dsp:txXfrm>
    </dsp:sp>
    <dsp:sp modelId="{C4AB264D-B8D8-44DC-B1B4-A90DCA65B562}">
      <dsp:nvSpPr>
        <dsp:cNvPr id="0" name=""/>
        <dsp:cNvSpPr/>
      </dsp:nvSpPr>
      <dsp:spPr>
        <a:xfrm>
          <a:off x="0" y="3059445"/>
          <a:ext cx="3867960" cy="4890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GB" sz="1900" b="1" kern="1200" dirty="0"/>
            <a:t>Drop Index:</a:t>
          </a:r>
          <a:endParaRPr lang="en-US" sz="1900" kern="1200" dirty="0"/>
        </a:p>
      </dsp:txBody>
      <dsp:txXfrm>
        <a:off x="23874" y="3083319"/>
        <a:ext cx="3820212" cy="441312"/>
      </dsp:txXfrm>
    </dsp:sp>
    <dsp:sp modelId="{1F25FBA9-B4C3-49F7-A227-0A2C7D63ADB3}">
      <dsp:nvSpPr>
        <dsp:cNvPr id="0" name=""/>
        <dsp:cNvSpPr/>
      </dsp:nvSpPr>
      <dsp:spPr>
        <a:xfrm>
          <a:off x="0" y="3548505"/>
          <a:ext cx="3867960" cy="96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GB" sz="1500" kern="1200" dirty="0"/>
            <a:t>Identifies and drops unused Indexes, validates performance improvements and reverts the change if performance degrades.</a:t>
          </a:r>
          <a:endParaRPr lang="en-US" sz="1500" kern="1200" dirty="0"/>
        </a:p>
      </dsp:txBody>
      <dsp:txXfrm>
        <a:off x="0" y="3548505"/>
        <a:ext cx="3867960" cy="963585"/>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35046"/>
          <a:ext cx="11144474" cy="1466325"/>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a:latin typeface="+mn-lt"/>
            </a:rPr>
            <a:t>Parameter-sniffing problem refers to a scenario where a </a:t>
          </a:r>
          <a:r>
            <a:rPr lang="en-US" sz="1900" b="1" kern="1200" dirty="0">
              <a:latin typeface="+mn-lt"/>
            </a:rPr>
            <a:t>single</a:t>
          </a:r>
          <a:r>
            <a:rPr lang="en-US" sz="1900" kern="1200" dirty="0">
              <a:latin typeface="+mn-lt"/>
            </a:rPr>
            <a:t> cached plan for a parameterized query is </a:t>
          </a:r>
          <a:r>
            <a:rPr lang="en-US" sz="1900" b="1" kern="1200" dirty="0">
              <a:latin typeface="+mn-lt"/>
            </a:rPr>
            <a:t>not optimal for all </a:t>
          </a:r>
          <a:r>
            <a:rPr lang="en-US" sz="1900" kern="1200" dirty="0">
              <a:latin typeface="+mn-lt"/>
            </a:rPr>
            <a:t>possible input parameter values</a:t>
          </a:r>
          <a:endParaRPr lang="en-US" sz="1900" b="0" kern="1200" dirty="0"/>
        </a:p>
        <a:p>
          <a:pPr marL="171450" lvl="1" indent="-171450" algn="l" defTabSz="844550">
            <a:lnSpc>
              <a:spcPct val="90000"/>
            </a:lnSpc>
            <a:spcBef>
              <a:spcPct val="0"/>
            </a:spcBef>
            <a:spcAft>
              <a:spcPct val="15000"/>
            </a:spcAft>
            <a:buChar char="•"/>
          </a:pPr>
          <a:r>
            <a:rPr lang="en-US" sz="1900" kern="1200" dirty="0">
              <a:latin typeface="+mn-lt"/>
            </a:rPr>
            <a:t>If plan is not representative of most executions, you have a perceived “bad plan”</a:t>
          </a:r>
          <a:endParaRPr lang="en-US" sz="1900" b="0" kern="1200" dirty="0"/>
        </a:p>
      </dsp:txBody>
      <dsp:txXfrm>
        <a:off x="0" y="335046"/>
        <a:ext cx="11144474" cy="1466325"/>
      </dsp:txXfrm>
    </dsp:sp>
    <dsp:sp modelId="{09DF4224-3D80-47D7-B2BA-0A0BBC33BA22}">
      <dsp:nvSpPr>
        <dsp:cNvPr id="0" name=""/>
        <dsp:cNvSpPr/>
      </dsp:nvSpPr>
      <dsp:spPr>
        <a:xfrm>
          <a:off x="557223" y="54606"/>
          <a:ext cx="7801131" cy="56088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Parameter Sensitive Plans Today</a:t>
          </a:r>
        </a:p>
      </dsp:txBody>
      <dsp:txXfrm>
        <a:off x="584603" y="81986"/>
        <a:ext cx="7746371" cy="506120"/>
      </dsp:txXfrm>
    </dsp:sp>
    <dsp:sp modelId="{1738A5E9-7294-453F-BC26-FB76949CBB6D}">
      <dsp:nvSpPr>
        <dsp:cNvPr id="0" name=""/>
        <dsp:cNvSpPr/>
      </dsp:nvSpPr>
      <dsp:spPr>
        <a:xfrm>
          <a:off x="0" y="2184411"/>
          <a:ext cx="11144474" cy="3231900"/>
        </a:xfrm>
        <a:prstGeom prst="rect">
          <a:avLst/>
        </a:prstGeom>
        <a:solidFill>
          <a:schemeClr val="lt1">
            <a:alpha val="90000"/>
            <a:hueOff val="0"/>
            <a:satOff val="0"/>
            <a:lumOff val="0"/>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a:t>RECOMPILE</a:t>
          </a:r>
          <a:endParaRPr lang="en-US" sz="1900" kern="1200" dirty="0"/>
        </a:p>
        <a:p>
          <a:pPr marL="171450" lvl="1" indent="-171450" algn="l" defTabSz="844550">
            <a:lnSpc>
              <a:spcPct val="90000"/>
            </a:lnSpc>
            <a:spcBef>
              <a:spcPct val="0"/>
            </a:spcBef>
            <a:spcAft>
              <a:spcPct val="15000"/>
            </a:spcAft>
            <a:buChar char="•"/>
          </a:pPr>
          <a:r>
            <a:rPr lang="en-US" sz="1900" kern="1200"/>
            <a:t>OPTION (OPTIMIZE FOR…)</a:t>
          </a:r>
        </a:p>
        <a:p>
          <a:pPr marL="171450" lvl="1" indent="-171450" algn="l" defTabSz="844550">
            <a:lnSpc>
              <a:spcPct val="90000"/>
            </a:lnSpc>
            <a:spcBef>
              <a:spcPct val="0"/>
            </a:spcBef>
            <a:spcAft>
              <a:spcPct val="15000"/>
            </a:spcAft>
            <a:buChar char="•"/>
          </a:pPr>
          <a:r>
            <a:rPr lang="en-US" sz="1900" kern="1200" dirty="0"/>
            <a:t>OPTION (OPTIMIZE FOR UNKNOWN)</a:t>
          </a:r>
        </a:p>
        <a:p>
          <a:pPr marL="171450" lvl="1" indent="-171450" algn="l" defTabSz="844550">
            <a:lnSpc>
              <a:spcPct val="90000"/>
            </a:lnSpc>
            <a:spcBef>
              <a:spcPct val="0"/>
            </a:spcBef>
            <a:spcAft>
              <a:spcPct val="15000"/>
            </a:spcAft>
            <a:buChar char="•"/>
          </a:pPr>
          <a:r>
            <a:rPr lang="en-US" sz="1900" kern="1200" dirty="0"/>
            <a:t>Disable parameter sniffing entirely </a:t>
          </a:r>
        </a:p>
        <a:p>
          <a:pPr marL="171450" lvl="1" indent="-171450" algn="l" defTabSz="844550">
            <a:lnSpc>
              <a:spcPct val="90000"/>
            </a:lnSpc>
            <a:spcBef>
              <a:spcPct val="0"/>
            </a:spcBef>
            <a:spcAft>
              <a:spcPct val="15000"/>
            </a:spcAft>
            <a:buChar char="•"/>
          </a:pPr>
          <a:r>
            <a:rPr lang="en-US" sz="1900" kern="1200" dirty="0"/>
            <a:t>KEEPFIXEDPLAN</a:t>
          </a:r>
        </a:p>
        <a:p>
          <a:pPr marL="171450" lvl="1" indent="-171450" algn="l" defTabSz="844550">
            <a:lnSpc>
              <a:spcPct val="90000"/>
            </a:lnSpc>
            <a:spcBef>
              <a:spcPct val="0"/>
            </a:spcBef>
            <a:spcAft>
              <a:spcPct val="15000"/>
            </a:spcAft>
            <a:buChar char="•"/>
          </a:pPr>
          <a:r>
            <a:rPr lang="en-US" sz="1900" kern="1200"/>
            <a:t>Force a known plan</a:t>
          </a:r>
        </a:p>
        <a:p>
          <a:pPr marL="171450" lvl="1" indent="-171450" algn="l" defTabSz="844550">
            <a:lnSpc>
              <a:spcPct val="90000"/>
            </a:lnSpc>
            <a:spcBef>
              <a:spcPct val="0"/>
            </a:spcBef>
            <a:spcAft>
              <a:spcPct val="15000"/>
            </a:spcAft>
            <a:buChar char="•"/>
          </a:pPr>
          <a:r>
            <a:rPr lang="en-US" sz="1900" kern="1200" dirty="0"/>
            <a:t>Nested procedures</a:t>
          </a:r>
        </a:p>
        <a:p>
          <a:pPr marL="171450" lvl="1" indent="-171450" algn="l" defTabSz="844550">
            <a:lnSpc>
              <a:spcPct val="90000"/>
            </a:lnSpc>
            <a:spcBef>
              <a:spcPct val="0"/>
            </a:spcBef>
            <a:spcAft>
              <a:spcPct val="15000"/>
            </a:spcAft>
            <a:buChar char="•"/>
          </a:pPr>
          <a:r>
            <a:rPr lang="en-US" sz="1900" kern="1200" dirty="0"/>
            <a:t>Dynamic string execution</a:t>
          </a:r>
        </a:p>
      </dsp:txBody>
      <dsp:txXfrm>
        <a:off x="0" y="2184411"/>
        <a:ext cx="11144474" cy="3231900"/>
      </dsp:txXfrm>
    </dsp:sp>
    <dsp:sp modelId="{8EDC92CE-1AB4-4FAD-8EB9-3304E9FB1C42}">
      <dsp:nvSpPr>
        <dsp:cNvPr id="0" name=""/>
        <dsp:cNvSpPr/>
      </dsp:nvSpPr>
      <dsp:spPr>
        <a:xfrm>
          <a:off x="557223" y="1903971"/>
          <a:ext cx="7801131" cy="56088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Current Workarounds</a:t>
          </a:r>
        </a:p>
      </dsp:txBody>
      <dsp:txXfrm>
        <a:off x="584603" y="1931351"/>
        <a:ext cx="7746371" cy="506120"/>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DAC2B-1B5F-419C-B21B-B191A9A5DF1E}">
      <dsp:nvSpPr>
        <dsp:cNvPr id="0" name=""/>
        <dsp:cNvSpPr/>
      </dsp:nvSpPr>
      <dsp:spPr>
        <a:xfrm>
          <a:off x="0" y="4337"/>
          <a:ext cx="4715107" cy="861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ew compile on Agent 4</a:t>
          </a:r>
        </a:p>
      </dsp:txBody>
      <dsp:txXfrm>
        <a:off x="42036" y="46373"/>
        <a:ext cx="4631035" cy="777048"/>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DAC2B-1B5F-419C-B21B-B191A9A5DF1E}">
      <dsp:nvSpPr>
        <dsp:cNvPr id="0" name=""/>
        <dsp:cNvSpPr/>
      </dsp:nvSpPr>
      <dsp:spPr>
        <a:xfrm>
          <a:off x="0" y="16963"/>
          <a:ext cx="4715107" cy="65929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Using cached plan for Agent 2</a:t>
          </a:r>
        </a:p>
      </dsp:txBody>
      <dsp:txXfrm>
        <a:off x="32184" y="49147"/>
        <a:ext cx="4650739" cy="594927"/>
      </dsp:txXfrm>
    </dsp:sp>
    <dsp:sp modelId="{331960B4-C2BC-4CB4-8FFE-DB5A045E898F}">
      <dsp:nvSpPr>
        <dsp:cNvPr id="0" name=""/>
        <dsp:cNvSpPr/>
      </dsp:nvSpPr>
      <dsp:spPr>
        <a:xfrm>
          <a:off x="0" y="676258"/>
          <a:ext cx="4715107" cy="2475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705" tIns="33020" rIns="184912" bIns="33020" numCol="1" spcCol="1270" anchor="t" anchorCtr="0">
          <a:noAutofit/>
        </a:bodyPr>
        <a:lstStyle/>
        <a:p>
          <a:pPr marL="228600" lvl="1" indent="-228600" algn="l" defTabSz="1155700">
            <a:lnSpc>
              <a:spcPct val="90000"/>
            </a:lnSpc>
            <a:spcBef>
              <a:spcPct val="0"/>
            </a:spcBef>
            <a:spcAft>
              <a:spcPct val="20000"/>
            </a:spcAft>
            <a:buChar char="•"/>
          </a:pPr>
          <a:endParaRPr lang="en-US" sz="2600" kern="1200"/>
        </a:p>
        <a:p>
          <a:pPr marL="285750" lvl="1" indent="-285750" algn="l" defTabSz="1600200">
            <a:lnSpc>
              <a:spcPct val="90000"/>
            </a:lnSpc>
            <a:spcBef>
              <a:spcPct val="0"/>
            </a:spcBef>
            <a:spcAft>
              <a:spcPct val="20000"/>
            </a:spcAft>
            <a:buChar char="•"/>
          </a:pPr>
          <a:endParaRPr lang="en-US" sz="3600" kern="1200"/>
        </a:p>
        <a:p>
          <a:pPr marL="285750" lvl="1" indent="-285750" algn="l" defTabSz="1600200">
            <a:lnSpc>
              <a:spcPct val="90000"/>
            </a:lnSpc>
            <a:spcBef>
              <a:spcPct val="0"/>
            </a:spcBef>
            <a:spcAft>
              <a:spcPct val="20000"/>
            </a:spcAft>
            <a:buChar char="•"/>
          </a:pPr>
          <a:endParaRPr lang="en-US" sz="3600" kern="1200" dirty="0"/>
        </a:p>
        <a:p>
          <a:pPr marL="285750" lvl="1" indent="-285750" algn="l" defTabSz="1600200">
            <a:lnSpc>
              <a:spcPct val="90000"/>
            </a:lnSpc>
            <a:spcBef>
              <a:spcPct val="0"/>
            </a:spcBef>
            <a:spcAft>
              <a:spcPct val="20000"/>
            </a:spcAft>
            <a:buChar char="•"/>
          </a:pPr>
          <a:endParaRPr lang="en-US" sz="3600" kern="1200" dirty="0"/>
        </a:p>
      </dsp:txBody>
      <dsp:txXfrm>
        <a:off x="0" y="676258"/>
        <a:ext cx="4715107" cy="2475720"/>
      </dsp:txXfrm>
    </dsp:sp>
    <dsp:sp modelId="{EF9B14C4-04CC-45B4-A113-01A06A82DD1F}">
      <dsp:nvSpPr>
        <dsp:cNvPr id="0" name=""/>
        <dsp:cNvSpPr/>
      </dsp:nvSpPr>
      <dsp:spPr>
        <a:xfrm>
          <a:off x="0" y="2977676"/>
          <a:ext cx="4715107" cy="65929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New compile on Agent 2</a:t>
          </a:r>
        </a:p>
      </dsp:txBody>
      <dsp:txXfrm>
        <a:off x="32184" y="3009860"/>
        <a:ext cx="4650739" cy="594927"/>
      </dsp:txXfrm>
    </dsp:sp>
    <dsp:sp modelId="{7C7D43BF-BF08-4B67-88D1-BF383F851CE0}">
      <dsp:nvSpPr>
        <dsp:cNvPr id="0" name=""/>
        <dsp:cNvSpPr/>
      </dsp:nvSpPr>
      <dsp:spPr>
        <a:xfrm>
          <a:off x="0" y="3811273"/>
          <a:ext cx="4715107" cy="2047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705"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dsp:txBody>
      <dsp:txXfrm>
        <a:off x="0" y="3811273"/>
        <a:ext cx="4715107" cy="2047230"/>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64C633-99A8-442F-AB7B-98CC9B35593A}">
      <dsp:nvSpPr>
        <dsp:cNvPr id="0" name=""/>
        <dsp:cNvSpPr/>
      </dsp:nvSpPr>
      <dsp:spPr>
        <a:xfrm>
          <a:off x="0" y="168758"/>
          <a:ext cx="11144474" cy="12987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Automatically enables </a:t>
          </a:r>
          <a:r>
            <a:rPr lang="en-US" sz="3000" u="none" kern="1200" dirty="0"/>
            <a:t>multiple, active </a:t>
          </a:r>
          <a:r>
            <a:rPr lang="en-US" sz="3000" kern="1200" dirty="0"/>
            <a:t>cached plans for a single parameterized statement</a:t>
          </a:r>
        </a:p>
      </dsp:txBody>
      <dsp:txXfrm>
        <a:off x="63397" y="232155"/>
        <a:ext cx="11017680" cy="1171906"/>
      </dsp:txXfrm>
    </dsp:sp>
    <dsp:sp modelId="{709EF244-9908-42D8-B846-1F5AE2BBD0F8}">
      <dsp:nvSpPr>
        <dsp:cNvPr id="0" name=""/>
        <dsp:cNvSpPr/>
      </dsp:nvSpPr>
      <dsp:spPr>
        <a:xfrm>
          <a:off x="0" y="1553858"/>
          <a:ext cx="11144474" cy="1298700"/>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Cached execution plans will accommodate different data sizes based on the customer-provided runtime parameter value(s)</a:t>
          </a:r>
        </a:p>
      </dsp:txBody>
      <dsp:txXfrm>
        <a:off x="63397" y="1617255"/>
        <a:ext cx="11017680" cy="1171906"/>
      </dsp:txXfrm>
    </dsp:sp>
    <dsp:sp modelId="{BD69AF70-FDD3-4F65-B044-186A952BCA3E}">
      <dsp:nvSpPr>
        <dsp:cNvPr id="0" name=""/>
        <dsp:cNvSpPr/>
      </dsp:nvSpPr>
      <dsp:spPr>
        <a:xfrm>
          <a:off x="0" y="2938959"/>
          <a:ext cx="11144474" cy="129870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esign considerations</a:t>
          </a:r>
        </a:p>
      </dsp:txBody>
      <dsp:txXfrm>
        <a:off x="63397" y="3002356"/>
        <a:ext cx="11017680" cy="1171906"/>
      </dsp:txXfrm>
    </dsp:sp>
    <dsp:sp modelId="{6607D736-F936-4CC9-A85F-F24CE4EC548D}">
      <dsp:nvSpPr>
        <dsp:cNvPr id="0" name=""/>
        <dsp:cNvSpPr/>
      </dsp:nvSpPr>
      <dsp:spPr>
        <a:xfrm>
          <a:off x="0" y="4237659"/>
          <a:ext cx="11144474"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Too many plans generated could create cache bloat, so limit # of plans in cache</a:t>
          </a:r>
        </a:p>
        <a:p>
          <a:pPr marL="228600" lvl="1" indent="-228600" algn="l" defTabSz="1022350">
            <a:lnSpc>
              <a:spcPct val="90000"/>
            </a:lnSpc>
            <a:spcBef>
              <a:spcPct val="0"/>
            </a:spcBef>
            <a:spcAft>
              <a:spcPct val="20000"/>
            </a:spcAft>
            <a:buChar char="•"/>
          </a:pPr>
          <a:r>
            <a:rPr lang="en-US" sz="2300" kern="1200"/>
            <a:t>Overhead of PSP optimization must not outweigh downstream benefit</a:t>
          </a:r>
          <a:endParaRPr lang="en-US" sz="2300" kern="1200" dirty="0"/>
        </a:p>
        <a:p>
          <a:pPr marL="228600" lvl="1" indent="-228600" algn="l" defTabSz="1022350">
            <a:lnSpc>
              <a:spcPct val="90000"/>
            </a:lnSpc>
            <a:spcBef>
              <a:spcPct val="0"/>
            </a:spcBef>
            <a:spcAft>
              <a:spcPct val="20000"/>
            </a:spcAft>
            <a:buChar char="•"/>
          </a:pPr>
          <a:r>
            <a:rPr lang="en-US" sz="2300" kern="1200"/>
            <a:t>Compatible with Query Store plan forcing</a:t>
          </a:r>
          <a:endParaRPr lang="en-US" sz="2300" kern="1200" dirty="0"/>
        </a:p>
      </dsp:txBody>
      <dsp:txXfrm>
        <a:off x="0" y="4237659"/>
        <a:ext cx="11144474" cy="1304100"/>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FF34A-7C23-4C2F-B398-F47637EF0A18}">
      <dsp:nvSpPr>
        <dsp:cNvPr id="0" name=""/>
        <dsp:cNvSpPr/>
      </dsp:nvSpPr>
      <dsp:spPr>
        <a:xfrm>
          <a:off x="0" y="511490"/>
          <a:ext cx="11404845" cy="12987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uring initial compilation PSP optimization will evaluate the most “at risk” parameterized predicates (up to three out of all available)</a:t>
          </a:r>
          <a:endParaRPr lang="en-US" sz="3000" b="1" kern="1200" dirty="0"/>
        </a:p>
      </dsp:txBody>
      <dsp:txXfrm>
        <a:off x="63397" y="574887"/>
        <a:ext cx="11278051" cy="1171906"/>
      </dsp:txXfrm>
    </dsp:sp>
    <dsp:sp modelId="{9FF63987-23BA-4130-A511-B8D519664930}">
      <dsp:nvSpPr>
        <dsp:cNvPr id="0" name=""/>
        <dsp:cNvSpPr/>
      </dsp:nvSpPr>
      <dsp:spPr>
        <a:xfrm>
          <a:off x="0" y="1896590"/>
          <a:ext cx="11404845" cy="1298700"/>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First version is scoped to equality predicates referencing statistics-covered columns;  </a:t>
          </a:r>
          <a:r>
            <a:rPr lang="en-US" sz="3000" kern="1200" dirty="0">
              <a:latin typeface="Consolas" panose="020B0609020204030204" pitchFamily="49" charset="0"/>
            </a:rPr>
            <a:t>WHERE </a:t>
          </a:r>
          <a:r>
            <a:rPr lang="en-US" sz="3000" kern="1200" dirty="0" err="1">
              <a:latin typeface="Consolas" panose="020B0609020204030204" pitchFamily="49" charset="0"/>
            </a:rPr>
            <a:t>AgentId</a:t>
          </a:r>
          <a:r>
            <a:rPr lang="en-US" sz="3000" kern="1200" dirty="0">
              <a:latin typeface="Consolas" panose="020B0609020204030204" pitchFamily="49" charset="0"/>
            </a:rPr>
            <a:t> = @AgentId</a:t>
          </a:r>
        </a:p>
      </dsp:txBody>
      <dsp:txXfrm>
        <a:off x="63397" y="1959987"/>
        <a:ext cx="11278051" cy="1171906"/>
      </dsp:txXfrm>
    </dsp:sp>
    <dsp:sp modelId="{2C8B49A1-8B54-4C9F-B82C-77A5F6BE6562}">
      <dsp:nvSpPr>
        <dsp:cNvPr id="0" name=""/>
        <dsp:cNvSpPr/>
      </dsp:nvSpPr>
      <dsp:spPr>
        <a:xfrm>
          <a:off x="0" y="3281690"/>
          <a:ext cx="11404845" cy="129870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Uses the statistics histogram to identify non-uniform distributions</a:t>
          </a:r>
        </a:p>
      </dsp:txBody>
      <dsp:txXfrm>
        <a:off x="63397" y="3345087"/>
        <a:ext cx="11278051" cy="1171906"/>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44146"/>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64550"/>
        <a:ext cx="1004180" cy="655850"/>
      </dsp:txXfrm>
    </dsp:sp>
    <dsp:sp modelId="{2A969FB1-A0CA-4BCB-9811-B1C2A2D37CF2}">
      <dsp:nvSpPr>
        <dsp:cNvPr id="0" name=""/>
        <dsp:cNvSpPr/>
      </dsp:nvSpPr>
      <dsp:spPr>
        <a:xfrm>
          <a:off x="3244411" y="2440805"/>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71946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39872"/>
        <a:ext cx="1004180" cy="655850"/>
      </dsp:txXfrm>
    </dsp:sp>
    <dsp:sp modelId="{9B0BC5A7-6A70-41C3-871D-416E6CE7FB15}">
      <dsp:nvSpPr>
        <dsp:cNvPr id="0" name=""/>
        <dsp:cNvSpPr/>
      </dsp:nvSpPr>
      <dsp:spPr>
        <a:xfrm>
          <a:off x="527442" y="3416127"/>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715195"/>
        <a:ext cx="1004180" cy="655850"/>
      </dsp:txXfrm>
    </dsp:sp>
    <dsp:sp modelId="{52433208-80E6-4924-B192-66BA710CE757}">
      <dsp:nvSpPr>
        <dsp:cNvPr id="0" name=""/>
        <dsp:cNvSpPr/>
      </dsp:nvSpPr>
      <dsp:spPr>
        <a:xfrm>
          <a:off x="1885927" y="3416127"/>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715195"/>
        <a:ext cx="1004180" cy="655850"/>
      </dsp:txXfrm>
    </dsp:sp>
    <dsp:sp modelId="{BF248486-F648-4871-903F-93B482640036}">
      <dsp:nvSpPr>
        <dsp:cNvPr id="0" name=""/>
        <dsp:cNvSpPr/>
      </dsp:nvSpPr>
      <dsp:spPr>
        <a:xfrm>
          <a:off x="3198691" y="3416127"/>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94791"/>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715195"/>
        <a:ext cx="1004180" cy="655850"/>
      </dsp:txXfrm>
    </dsp:sp>
    <dsp:sp modelId="{5690923D-9059-4138-8ACF-90D405019F80}">
      <dsp:nvSpPr>
        <dsp:cNvPr id="0" name=""/>
        <dsp:cNvSpPr/>
      </dsp:nvSpPr>
      <dsp:spPr>
        <a:xfrm>
          <a:off x="1885927" y="4391450"/>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7011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90517"/>
        <a:ext cx="1004180" cy="655850"/>
      </dsp:txXfrm>
    </dsp:sp>
    <dsp:sp modelId="{810926B5-7D25-4DDF-8B56-5D578BE910C7}">
      <dsp:nvSpPr>
        <dsp:cNvPr id="0" name=""/>
        <dsp:cNvSpPr/>
      </dsp:nvSpPr>
      <dsp:spPr>
        <a:xfrm>
          <a:off x="3198691" y="4391450"/>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7011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90517"/>
        <a:ext cx="1004180" cy="655850"/>
      </dsp:txXfrm>
    </dsp:sp>
    <dsp:sp modelId="{5CC0C396-8377-475C-A00D-7F8341A1F477}">
      <dsp:nvSpPr>
        <dsp:cNvPr id="0" name=""/>
        <dsp:cNvSpPr/>
      </dsp:nvSpPr>
      <dsp:spPr>
        <a:xfrm>
          <a:off x="3244411" y="4391450"/>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7011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90517"/>
        <a:ext cx="1004180" cy="655850"/>
      </dsp:txXfrm>
    </dsp:sp>
    <dsp:sp modelId="{D0464A9B-83F7-4A2D-94B3-57ED5F3C091B}">
      <dsp:nvSpPr>
        <dsp:cNvPr id="0" name=""/>
        <dsp:cNvSpPr/>
      </dsp:nvSpPr>
      <dsp:spPr>
        <a:xfrm>
          <a:off x="3244411" y="3416127"/>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715195"/>
        <a:ext cx="1004180" cy="655850"/>
      </dsp:txXfrm>
    </dsp:sp>
    <dsp:sp modelId="{BC3E3219-39C3-4268-83EE-67E130107410}">
      <dsp:nvSpPr>
        <dsp:cNvPr id="0" name=""/>
        <dsp:cNvSpPr/>
      </dsp:nvSpPr>
      <dsp:spPr>
        <a:xfrm>
          <a:off x="3244411" y="3416127"/>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715195"/>
        <a:ext cx="1004180" cy="655850"/>
      </dsp:txXfrm>
    </dsp:sp>
    <dsp:sp modelId="{54FE398B-EB4B-4376-8CAD-D5884C340DB3}">
      <dsp:nvSpPr>
        <dsp:cNvPr id="0" name=""/>
        <dsp:cNvSpPr/>
      </dsp:nvSpPr>
      <dsp:spPr>
        <a:xfrm>
          <a:off x="4602896" y="2440805"/>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39872"/>
        <a:ext cx="1004180" cy="655850"/>
      </dsp:txXfrm>
    </dsp:sp>
    <dsp:sp modelId="{54FC7E62-6BC8-4117-AE83-F7D461A58C56}">
      <dsp:nvSpPr>
        <dsp:cNvPr id="0" name=""/>
        <dsp:cNvSpPr/>
      </dsp:nvSpPr>
      <dsp:spPr>
        <a:xfrm>
          <a:off x="5961381" y="2440805"/>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39872"/>
        <a:ext cx="1004180" cy="655850"/>
      </dsp:txXfrm>
    </dsp:sp>
    <dsp:sp modelId="{8348335F-5BEF-45E6-9491-BE36F00A5827}">
      <dsp:nvSpPr>
        <dsp:cNvPr id="0" name=""/>
        <dsp:cNvSpPr/>
      </dsp:nvSpPr>
      <dsp:spPr>
        <a:xfrm>
          <a:off x="7274145" y="2440805"/>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39872"/>
        <a:ext cx="1004180" cy="655850"/>
      </dsp:txXfrm>
    </dsp:sp>
    <dsp:sp modelId="{6BEB96AB-5069-4522-8BFE-22AE1E1907A1}">
      <dsp:nvSpPr>
        <dsp:cNvPr id="0" name=""/>
        <dsp:cNvSpPr/>
      </dsp:nvSpPr>
      <dsp:spPr>
        <a:xfrm>
          <a:off x="7319865" y="2440805"/>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39872"/>
        <a:ext cx="1004180" cy="655850"/>
      </dsp:txXfrm>
    </dsp:sp>
    <dsp:sp modelId="{29F63BC1-C5FC-44AA-8F97-ECEF56FF0ECF}">
      <dsp:nvSpPr>
        <dsp:cNvPr id="0" name=""/>
        <dsp:cNvSpPr/>
      </dsp:nvSpPr>
      <dsp:spPr>
        <a:xfrm>
          <a:off x="7999107" y="3416127"/>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9479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715195"/>
        <a:ext cx="1004180" cy="655850"/>
      </dsp:txXfrm>
    </dsp:sp>
    <dsp:sp modelId="{A1CDEA6C-5A4D-425A-B7B4-C84037695A33}">
      <dsp:nvSpPr>
        <dsp:cNvPr id="0" name=""/>
        <dsp:cNvSpPr/>
      </dsp:nvSpPr>
      <dsp:spPr>
        <a:xfrm>
          <a:off x="8678350" y="3416127"/>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715195"/>
        <a:ext cx="1004180" cy="655850"/>
      </dsp:txXfrm>
    </dsp:sp>
    <dsp:sp modelId="{12BB4D1C-4932-4FB5-A5B3-D9E9B7872BE0}">
      <dsp:nvSpPr>
        <dsp:cNvPr id="0" name=""/>
        <dsp:cNvSpPr/>
      </dsp:nvSpPr>
      <dsp:spPr>
        <a:xfrm>
          <a:off x="7319865" y="2440805"/>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11711BDA-6E88-4B70-AD55-C75947559D72}">
      <dsp:nvSpPr>
        <dsp:cNvPr id="0" name=""/>
        <dsp:cNvSpPr/>
      </dsp:nvSpPr>
      <dsp:spPr>
        <a:xfrm>
          <a:off x="9514340"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39872"/>
        <a:ext cx="1004180" cy="655850"/>
      </dsp:txXfrm>
    </dsp:sp>
    <dsp:sp modelId="{09C8B667-CAD7-4DC0-985B-9B8F058B52AE}">
      <dsp:nvSpPr>
        <dsp:cNvPr id="0" name=""/>
        <dsp:cNvSpPr/>
      </dsp:nvSpPr>
      <dsp:spPr>
        <a:xfrm>
          <a:off x="7319865" y="2440805"/>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39872"/>
        <a:ext cx="1004180" cy="6558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BCCF4-1723-41CF-89CA-6F0F876FF2B2}">
      <dsp:nvSpPr>
        <dsp:cNvPr id="0" name=""/>
        <dsp:cNvSpPr/>
      </dsp:nvSpPr>
      <dsp:spPr>
        <a:xfrm>
          <a:off x="3146438"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1103156"/>
        <a:ext cx="36108" cy="7221"/>
      </dsp:txXfrm>
    </dsp:sp>
    <dsp:sp modelId="{9F095C3C-B302-496C-9DF7-08715002A7AF}">
      <dsp:nvSpPr>
        <dsp:cNvPr id="0" name=""/>
        <dsp:cNvSpPr/>
      </dsp:nvSpPr>
      <dsp:spPr>
        <a:xfrm>
          <a:off x="8341" y="164798"/>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QL Database monitors the queries</a:t>
          </a:r>
          <a:endParaRPr lang="en-US" sz="2400" kern="1200" dirty="0"/>
        </a:p>
      </dsp:txBody>
      <dsp:txXfrm>
        <a:off x="8341" y="164798"/>
        <a:ext cx="3139897" cy="1883938"/>
      </dsp:txXfrm>
    </dsp:sp>
    <dsp:sp modelId="{2DD5F3A0-AD9F-4311-866C-13B3B8723025}">
      <dsp:nvSpPr>
        <dsp:cNvPr id="0" name=""/>
        <dsp:cNvSpPr/>
      </dsp:nvSpPr>
      <dsp:spPr>
        <a:xfrm>
          <a:off x="7008511"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336245" y="1103156"/>
        <a:ext cx="36108" cy="7221"/>
      </dsp:txXfrm>
    </dsp:sp>
    <dsp:sp modelId="{EA8C42DE-E869-45C7-A16E-7B2B7F20D740}">
      <dsp:nvSpPr>
        <dsp:cNvPr id="0" name=""/>
        <dsp:cNvSpPr/>
      </dsp:nvSpPr>
      <dsp:spPr>
        <a:xfrm>
          <a:off x="3870414" y="164798"/>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dentifies indexes that could improve performance</a:t>
          </a:r>
          <a:endParaRPr lang="en-US" sz="2400" kern="1200" dirty="0"/>
        </a:p>
      </dsp:txBody>
      <dsp:txXfrm>
        <a:off x="3870414" y="164798"/>
        <a:ext cx="3139897" cy="1883938"/>
      </dsp:txXfrm>
    </dsp:sp>
    <dsp:sp modelId="{57561826-B323-4FD9-82DA-827D89D59AC0}">
      <dsp:nvSpPr>
        <dsp:cNvPr id="0" name=""/>
        <dsp:cNvSpPr/>
      </dsp:nvSpPr>
      <dsp:spPr>
        <a:xfrm>
          <a:off x="1578289" y="2046936"/>
          <a:ext cx="7724146" cy="691576"/>
        </a:xfrm>
        <a:custGeom>
          <a:avLst/>
          <a:gdLst/>
          <a:ahLst/>
          <a:cxnLst/>
          <a:rect l="0" t="0" r="0" b="0"/>
          <a:pathLst>
            <a:path>
              <a:moveTo>
                <a:pt x="7724146" y="0"/>
              </a:moveTo>
              <a:lnTo>
                <a:pt x="7724146" y="362888"/>
              </a:lnTo>
              <a:lnTo>
                <a:pt x="0" y="362888"/>
              </a:lnTo>
              <a:lnTo>
                <a:pt x="0" y="691576"/>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46417" y="2389114"/>
        <a:ext cx="387891" cy="7221"/>
      </dsp:txXfrm>
    </dsp:sp>
    <dsp:sp modelId="{56F5725E-E259-4A56-BECF-6198FCECC981}">
      <dsp:nvSpPr>
        <dsp:cNvPr id="0" name=""/>
        <dsp:cNvSpPr/>
      </dsp:nvSpPr>
      <dsp:spPr>
        <a:xfrm>
          <a:off x="7732487" y="164798"/>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reates an index recommendation (high, medium or low)</a:t>
          </a:r>
          <a:endParaRPr lang="en-US" sz="2400" kern="1200" dirty="0"/>
        </a:p>
      </dsp:txBody>
      <dsp:txXfrm>
        <a:off x="7732487" y="164798"/>
        <a:ext cx="3139897" cy="1883938"/>
      </dsp:txXfrm>
    </dsp:sp>
    <dsp:sp modelId="{ECB7420A-83B5-4BF4-B80B-B37B00F8D375}">
      <dsp:nvSpPr>
        <dsp:cNvPr id="0" name=""/>
        <dsp:cNvSpPr/>
      </dsp:nvSpPr>
      <dsp:spPr>
        <a:xfrm>
          <a:off x="3146438" y="3667162"/>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3709271"/>
        <a:ext cx="36108" cy="7221"/>
      </dsp:txXfrm>
    </dsp:sp>
    <dsp:sp modelId="{0E04FCA1-66BA-4316-B74B-DA6BF04B50CD}">
      <dsp:nvSpPr>
        <dsp:cNvPr id="0" name=""/>
        <dsp:cNvSpPr/>
      </dsp:nvSpPr>
      <dsp:spPr>
        <a:xfrm>
          <a:off x="8341" y="2770913"/>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pply the index recommendation</a:t>
          </a:r>
          <a:endParaRPr lang="en-US" sz="2400" kern="1200" dirty="0"/>
        </a:p>
      </dsp:txBody>
      <dsp:txXfrm>
        <a:off x="8341" y="2770913"/>
        <a:ext cx="3139897" cy="1883938"/>
      </dsp:txXfrm>
    </dsp:sp>
    <dsp:sp modelId="{0F770C92-8707-4ED6-A0D6-535782DA22A9}">
      <dsp:nvSpPr>
        <dsp:cNvPr id="0" name=""/>
        <dsp:cNvSpPr/>
      </dsp:nvSpPr>
      <dsp:spPr>
        <a:xfrm>
          <a:off x="7008511" y="3667162"/>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336245" y="3709271"/>
        <a:ext cx="36108" cy="7221"/>
      </dsp:txXfrm>
    </dsp:sp>
    <dsp:sp modelId="{524B6BF2-2764-4DDF-ADB7-3B742FDAD4CF}">
      <dsp:nvSpPr>
        <dsp:cNvPr id="0" name=""/>
        <dsp:cNvSpPr/>
      </dsp:nvSpPr>
      <dsp:spPr>
        <a:xfrm>
          <a:off x="3870414" y="2770913"/>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mpare the performance with the baseline</a:t>
          </a:r>
          <a:endParaRPr lang="en-US" sz="2400" kern="1200" dirty="0"/>
        </a:p>
      </dsp:txBody>
      <dsp:txXfrm>
        <a:off x="3870414" y="2770913"/>
        <a:ext cx="3139897" cy="1883938"/>
      </dsp:txXfrm>
    </dsp:sp>
    <dsp:sp modelId="{7F237396-FDCA-46BD-AD11-ABA0E009B081}">
      <dsp:nvSpPr>
        <dsp:cNvPr id="0" name=""/>
        <dsp:cNvSpPr/>
      </dsp:nvSpPr>
      <dsp:spPr>
        <a:xfrm>
          <a:off x="7732487" y="2770913"/>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t" anchorCtr="0">
          <a:noAutofit/>
        </a:bodyPr>
        <a:lstStyle/>
        <a:p>
          <a:pPr marL="0" lvl="0" indent="0" algn="l" defTabSz="1066800">
            <a:lnSpc>
              <a:spcPct val="90000"/>
            </a:lnSpc>
            <a:spcBef>
              <a:spcPct val="0"/>
            </a:spcBef>
            <a:spcAft>
              <a:spcPct val="35000"/>
            </a:spcAft>
            <a:buNone/>
          </a:pPr>
          <a:r>
            <a:rPr lang="en-US" sz="2400" kern="1200" baseline="0" dirty="0"/>
            <a:t>If performance improved?</a:t>
          </a:r>
          <a:endParaRPr lang="en-US" sz="2400" kern="1200" dirty="0"/>
        </a:p>
        <a:p>
          <a:pPr marL="228600" lvl="1" indent="-228600" algn="l" defTabSz="889000">
            <a:lnSpc>
              <a:spcPct val="90000"/>
            </a:lnSpc>
            <a:spcBef>
              <a:spcPct val="0"/>
            </a:spcBef>
            <a:spcAft>
              <a:spcPct val="15000"/>
            </a:spcAft>
            <a:buChar char="•"/>
          </a:pPr>
          <a:r>
            <a:rPr lang="en-US" sz="2000" kern="1200" baseline="0" dirty="0"/>
            <a:t>Revert OR</a:t>
          </a:r>
          <a:endParaRPr lang="en-US" sz="2000" kern="1200" dirty="0"/>
        </a:p>
        <a:p>
          <a:pPr marL="228600" lvl="1" indent="-228600" algn="l" defTabSz="889000">
            <a:lnSpc>
              <a:spcPct val="90000"/>
            </a:lnSpc>
            <a:spcBef>
              <a:spcPct val="0"/>
            </a:spcBef>
            <a:spcAft>
              <a:spcPct val="15000"/>
            </a:spcAft>
            <a:buChar char="•"/>
          </a:pPr>
          <a:r>
            <a:rPr lang="en-US" sz="2000" kern="1200" baseline="0" dirty="0"/>
            <a:t>Flagged as successful</a:t>
          </a:r>
          <a:endParaRPr lang="en-US" sz="2000" kern="1200" dirty="0"/>
        </a:p>
      </dsp:txBody>
      <dsp:txXfrm>
        <a:off x="7732487" y="2770913"/>
        <a:ext cx="3139897" cy="188393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4E1059-290A-4E86-A943-EC531EFB99FF}">
      <dsp:nvSpPr>
        <dsp:cNvPr id="0" name=""/>
        <dsp:cNvSpPr/>
      </dsp:nvSpPr>
      <dsp:spPr>
        <a:xfrm>
          <a:off x="3146438"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1103156"/>
        <a:ext cx="36108" cy="7221"/>
      </dsp:txXfrm>
    </dsp:sp>
    <dsp:sp modelId="{0A0BE8D9-0712-4B1B-9797-EAC0DF3972BD}">
      <dsp:nvSpPr>
        <dsp:cNvPr id="0" name=""/>
        <dsp:cNvSpPr/>
      </dsp:nvSpPr>
      <dsp:spPr>
        <a:xfrm>
          <a:off x="8341" y="164798"/>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a:t>Queries that are constantly being recompiled but end up with the same query execution plan</a:t>
          </a:r>
          <a:endParaRPr lang="en-US" sz="2000" kern="1200"/>
        </a:p>
      </dsp:txBody>
      <dsp:txXfrm>
        <a:off x="8341" y="164798"/>
        <a:ext cx="3139897" cy="1883938"/>
      </dsp:txXfrm>
    </dsp:sp>
    <dsp:sp modelId="{B57882D5-6002-4E3A-B21F-E3A8FF97023E}">
      <dsp:nvSpPr>
        <dsp:cNvPr id="0" name=""/>
        <dsp:cNvSpPr/>
      </dsp:nvSpPr>
      <dsp:spPr>
        <a:xfrm>
          <a:off x="7008511"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336245" y="1103156"/>
        <a:ext cx="36108" cy="7221"/>
      </dsp:txXfrm>
    </dsp:sp>
    <dsp:sp modelId="{965C4AEE-251E-41ED-A257-B8E2CB0DE436}">
      <dsp:nvSpPr>
        <dsp:cNvPr id="0" name=""/>
        <dsp:cNvSpPr/>
      </dsp:nvSpPr>
      <dsp:spPr>
        <a:xfrm>
          <a:off x="3870414" y="164798"/>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nl-BE" sz="2000" kern="1200" baseline="0"/>
            <a:t>Forced parameterization</a:t>
          </a:r>
          <a:endParaRPr lang="en-US" sz="2000" kern="1200"/>
        </a:p>
      </dsp:txBody>
      <dsp:txXfrm>
        <a:off x="3870414" y="164798"/>
        <a:ext cx="3139897" cy="1883938"/>
      </dsp:txXfrm>
    </dsp:sp>
    <dsp:sp modelId="{A717592F-E413-44B9-B6AF-23F2D1E50026}">
      <dsp:nvSpPr>
        <dsp:cNvPr id="0" name=""/>
        <dsp:cNvSpPr/>
      </dsp:nvSpPr>
      <dsp:spPr>
        <a:xfrm>
          <a:off x="1578289" y="2046936"/>
          <a:ext cx="7724146" cy="691576"/>
        </a:xfrm>
        <a:custGeom>
          <a:avLst/>
          <a:gdLst/>
          <a:ahLst/>
          <a:cxnLst/>
          <a:rect l="0" t="0" r="0" b="0"/>
          <a:pathLst>
            <a:path>
              <a:moveTo>
                <a:pt x="7724146" y="0"/>
              </a:moveTo>
              <a:lnTo>
                <a:pt x="7724146" y="362888"/>
              </a:lnTo>
              <a:lnTo>
                <a:pt x="0" y="362888"/>
              </a:lnTo>
              <a:lnTo>
                <a:pt x="0" y="691576"/>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46417" y="2389114"/>
        <a:ext cx="387891" cy="7221"/>
      </dsp:txXfrm>
    </dsp:sp>
    <dsp:sp modelId="{31279DE9-3708-423A-BA93-92C72BD200F5}">
      <dsp:nvSpPr>
        <dsp:cNvPr id="0" name=""/>
        <dsp:cNvSpPr/>
      </dsp:nvSpPr>
      <dsp:spPr>
        <a:xfrm>
          <a:off x="7732487" y="164798"/>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a:t>Apply the recommendation</a:t>
          </a:r>
          <a:endParaRPr lang="en-US" sz="2000" kern="1200"/>
        </a:p>
      </dsp:txBody>
      <dsp:txXfrm>
        <a:off x="7732487" y="164798"/>
        <a:ext cx="3139897" cy="1883938"/>
      </dsp:txXfrm>
    </dsp:sp>
    <dsp:sp modelId="{6E92A483-1B00-4934-A975-AE36164B82C1}">
      <dsp:nvSpPr>
        <dsp:cNvPr id="0" name=""/>
        <dsp:cNvSpPr/>
      </dsp:nvSpPr>
      <dsp:spPr>
        <a:xfrm>
          <a:off x="3146438" y="3667162"/>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3709271"/>
        <a:ext cx="36108" cy="7221"/>
      </dsp:txXfrm>
    </dsp:sp>
    <dsp:sp modelId="{98E41D80-8538-4E6F-824B-D26272E2BEC9}">
      <dsp:nvSpPr>
        <dsp:cNvPr id="0" name=""/>
        <dsp:cNvSpPr/>
      </dsp:nvSpPr>
      <dsp:spPr>
        <a:xfrm>
          <a:off x="8341" y="2770913"/>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a:t>Compare the performance with the baseline</a:t>
          </a:r>
          <a:endParaRPr lang="en-US" sz="2000" kern="1200"/>
        </a:p>
      </dsp:txBody>
      <dsp:txXfrm>
        <a:off x="8341" y="2770913"/>
        <a:ext cx="3139897" cy="1883938"/>
      </dsp:txXfrm>
    </dsp:sp>
    <dsp:sp modelId="{8D85E95D-29B1-43CD-A02D-CFB4E94F0E31}">
      <dsp:nvSpPr>
        <dsp:cNvPr id="0" name=""/>
        <dsp:cNvSpPr/>
      </dsp:nvSpPr>
      <dsp:spPr>
        <a:xfrm>
          <a:off x="3870414" y="2770913"/>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128016" numCol="1" spcCol="1270" anchor="t" anchorCtr="0">
          <a:noAutofit/>
        </a:bodyPr>
        <a:lstStyle/>
        <a:p>
          <a:pPr marL="0" lvl="0" indent="0" algn="l" defTabSz="889000">
            <a:lnSpc>
              <a:spcPct val="90000"/>
            </a:lnSpc>
            <a:spcBef>
              <a:spcPct val="0"/>
            </a:spcBef>
            <a:spcAft>
              <a:spcPct val="35000"/>
            </a:spcAft>
            <a:buNone/>
          </a:pPr>
          <a:r>
            <a:rPr lang="en-US" sz="2000" kern="1200" baseline="0" dirty="0"/>
            <a:t>If performance improved?</a:t>
          </a:r>
          <a:endParaRPr lang="en-US" sz="2000" kern="1200" dirty="0"/>
        </a:p>
        <a:p>
          <a:pPr marL="171450" lvl="1" indent="-171450" algn="l" defTabSz="800100">
            <a:lnSpc>
              <a:spcPct val="90000"/>
            </a:lnSpc>
            <a:spcBef>
              <a:spcPct val="0"/>
            </a:spcBef>
            <a:spcAft>
              <a:spcPct val="15000"/>
            </a:spcAft>
            <a:buChar char="•"/>
          </a:pPr>
          <a:r>
            <a:rPr lang="en-US" sz="1800" kern="1200" baseline="0" dirty="0"/>
            <a:t>Revert OR</a:t>
          </a:r>
          <a:endParaRPr lang="en-US" sz="1800" kern="1200" dirty="0"/>
        </a:p>
        <a:p>
          <a:pPr marL="171450" lvl="1" indent="-171450" algn="l" defTabSz="800100">
            <a:lnSpc>
              <a:spcPct val="90000"/>
            </a:lnSpc>
            <a:spcBef>
              <a:spcPct val="0"/>
            </a:spcBef>
            <a:spcAft>
              <a:spcPct val="15000"/>
            </a:spcAft>
            <a:buChar char="•"/>
          </a:pPr>
          <a:r>
            <a:rPr lang="en-US" sz="1800" kern="1200" baseline="0" dirty="0"/>
            <a:t>Flagged as successful</a:t>
          </a:r>
          <a:endParaRPr lang="en-US" sz="1800" kern="1200" dirty="0"/>
        </a:p>
      </dsp:txBody>
      <dsp:txXfrm>
        <a:off x="3870414" y="2770913"/>
        <a:ext cx="3139897" cy="188393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5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8/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statistics/statistics?view=sql-server-ver16#histogra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ql-database/sql-database-advisor"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a:t>
            </a:fld>
            <a:endParaRPr lang="en-US"/>
          </a:p>
        </p:txBody>
      </p:sp>
      <p:sp>
        <p:nvSpPr>
          <p:cNvPr id="6" name="Date Placeholder 5">
            <a:extLst>
              <a:ext uri="{FF2B5EF4-FFF2-40B4-BE49-F238E27FC236}">
                <a16:creationId xmlns:a16="http://schemas.microsoft.com/office/drawing/2014/main" id="{B5F0A125-1411-481C-8C57-BA8508D6EF94}"/>
              </a:ext>
            </a:extLst>
          </p:cNvPr>
          <p:cNvSpPr>
            <a:spLocks noGrp="1"/>
          </p:cNvSpPr>
          <p:nvPr>
            <p:ph type="dt" idx="12"/>
          </p:nvPr>
        </p:nvSpPr>
        <p:spPr/>
        <p:txBody>
          <a:bodyPr/>
          <a:lstStyle/>
          <a:p>
            <a:fld id="{520EDEF9-34DC-43EF-A96E-E4BC67A143AE}" type="datetime1">
              <a:rPr lang="en-US"/>
              <a:t>8/11/2022</a:t>
            </a:fld>
            <a:endParaRPr lang="en-US"/>
          </a:p>
        </p:txBody>
      </p:sp>
      <p:sp>
        <p:nvSpPr>
          <p:cNvPr id="10" name="Slide Image Placeholder 9">
            <a:extLst>
              <a:ext uri="{FF2B5EF4-FFF2-40B4-BE49-F238E27FC236}">
                <a16:creationId xmlns:a16="http://schemas.microsoft.com/office/drawing/2014/main" id="{E2E78E2F-5A11-492B-863A-333FCB8BF99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F562AF71-297A-4E14-905B-9BC87AF9311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EE816882-27D1-47C1-B2DF-390182831B4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57296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lesson covers the </a:t>
            </a:r>
            <a:r>
              <a:rPr lang="en-US" sz="800" kern="1200" dirty="0">
                <a:solidFill>
                  <a:schemeClr val="bg1"/>
                </a:solidFill>
                <a:latin typeface="Segoe UI Light" pitchFamily="34" charset="0"/>
                <a:ea typeface="+mn-ea"/>
                <a:cs typeface="Segoe UI"/>
              </a:rPr>
              <a:t>Azure SQL Database Tuning using Automatic Tuning</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1557617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lesson covers the </a:t>
            </a:r>
            <a:r>
              <a:rPr lang="en-US" sz="800" kern="1200" dirty="0">
                <a:solidFill>
                  <a:schemeClr val="bg1"/>
                </a:solidFill>
                <a:latin typeface="Segoe UI Light" pitchFamily="34" charset="0"/>
                <a:ea typeface="+mn-ea"/>
                <a:cs typeface="Segoe UI"/>
              </a:rPr>
              <a:t>Azure SQL Database Tuning using Automatic Tuning</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zure SQL Database Automatic tuning provides peak performance and stable workloads through continuous performance tuning utilizing Artificial Intelligence.</a:t>
            </a:r>
          </a:p>
          <a:p>
            <a:r>
              <a:rPr lang="en-US" sz="800" b="0" i="0" u="none" strike="noStrike" kern="1200" dirty="0">
                <a:solidFill>
                  <a:schemeClr val="tx1"/>
                </a:solidFill>
                <a:effectLst/>
                <a:latin typeface="Segoe UI Light" pitchFamily="34" charset="0"/>
                <a:ea typeface="+mn-ea"/>
                <a:cs typeface="+mn-cs"/>
              </a:rPr>
              <a:t>Automatic tuning is a fully managed service that uses built-in intelligence to continuously monitor queries executed on a database and it automatically improves their performance. This is achieved through dynamically adapting database to the changing workloads and applying tuning recommendations. Automatic tuning learns horizontally from all databases on Azure through Artificial Intelligence and it dynamically improves its tuning actions. The longer an Azure SQL Database runs with automatic tuning on, the better it performs.</a:t>
            </a:r>
          </a:p>
          <a:p>
            <a:r>
              <a:rPr lang="en-US" sz="800" b="0" i="0" u="none" strike="noStrike" kern="1200" dirty="0">
                <a:solidFill>
                  <a:schemeClr val="tx1"/>
                </a:solidFill>
                <a:effectLst/>
                <a:latin typeface="Segoe UI Light" pitchFamily="34" charset="0"/>
                <a:ea typeface="+mn-ea"/>
                <a:cs typeface="+mn-cs"/>
              </a:rPr>
              <a:t>Azure SQL Database Automatic tuning might be one of the most important features that you can enable to provide stable and peak performing workloads.</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Tuning operations applied to Azure SQL Databases are fully safe for the performance of your most intense workloads. The system has been designed with care not to interfere with the user workloads. Automated tuning recommendations are applied only at the times of a low utilization. The system can also temporarily disable automatic tuning operations to protect the workload performance. In such case, “Disabled by the system” message will be shown in Azure portal. Automatic tuning regards workloads with the highest resource priority.</a:t>
            </a:r>
          </a:p>
          <a:p>
            <a:r>
              <a:rPr lang="en-US" sz="800" b="0" i="0" u="none" strike="noStrike" kern="1200" dirty="0">
                <a:solidFill>
                  <a:schemeClr val="tx1"/>
                </a:solidFill>
                <a:effectLst/>
                <a:latin typeface="Segoe UI Light" pitchFamily="34" charset="0"/>
                <a:ea typeface="+mn-ea"/>
                <a:cs typeface="+mn-cs"/>
              </a:rPr>
              <a:t>Automatic tuning mechanisms are mature and have been perfected on hundreds of thousands of databases running on Azure. Automated tuning operations applied are verified automatically to ensure there is a positive improvement to the workload performance. Regressed performance recommendations are dynamically detected and promptly reverted. Through the tuning history log there is a clear trace of tuning improvements made to each Azure SQL Database.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utomatic tuning options available in Azure SQL Database are:</a:t>
            </a:r>
          </a:p>
          <a:p>
            <a:r>
              <a:rPr lang="en-US" sz="800" b="1" i="0" u="none" strike="noStrike" kern="1200" dirty="0">
                <a:solidFill>
                  <a:schemeClr val="tx1"/>
                </a:solidFill>
                <a:effectLst/>
                <a:latin typeface="Segoe UI Light" pitchFamily="34" charset="0"/>
                <a:ea typeface="+mn-ea"/>
                <a:cs typeface="+mn-cs"/>
              </a:rPr>
              <a:t>CREATE INDEX</a:t>
            </a:r>
            <a:r>
              <a:rPr lang="en-US" sz="800" b="0" i="0" u="none" strike="noStrike" kern="1200" dirty="0">
                <a:solidFill>
                  <a:schemeClr val="tx1"/>
                </a:solidFill>
                <a:effectLst/>
                <a:latin typeface="Segoe UI Light" pitchFamily="34" charset="0"/>
                <a:ea typeface="+mn-ea"/>
                <a:cs typeface="+mn-cs"/>
              </a:rPr>
              <a:t> - identifies indexes that may improve performance of your workload, creates indexes, and automatically verifies that performance of queries has improved.</a:t>
            </a:r>
          </a:p>
          <a:p>
            <a:r>
              <a:rPr lang="en-US" sz="800" b="1" i="0" u="none" strike="noStrike" kern="1200" dirty="0">
                <a:solidFill>
                  <a:schemeClr val="tx1"/>
                </a:solidFill>
                <a:effectLst/>
                <a:latin typeface="Segoe UI Light" pitchFamily="34" charset="0"/>
                <a:ea typeface="+mn-ea"/>
                <a:cs typeface="+mn-cs"/>
              </a:rPr>
              <a:t>DROP INDEX</a:t>
            </a:r>
            <a:r>
              <a:rPr lang="en-US" sz="800" b="0" i="0" u="none" strike="noStrike" kern="1200" dirty="0">
                <a:solidFill>
                  <a:schemeClr val="tx1"/>
                </a:solidFill>
                <a:effectLst/>
                <a:latin typeface="Segoe UI Light" pitchFamily="34" charset="0"/>
                <a:ea typeface="+mn-ea"/>
                <a:cs typeface="+mn-cs"/>
              </a:rPr>
              <a:t> - identifies redundant and duplicate indexes, and indexes that were not used for a very long period of time. Please note that this option is not compatible with applications using partition switching and index hints.</a:t>
            </a:r>
          </a:p>
          <a:p>
            <a:r>
              <a:rPr lang="en-US" sz="800" b="1" i="0" u="none" strike="noStrike" kern="1200" dirty="0">
                <a:solidFill>
                  <a:schemeClr val="tx1"/>
                </a:solidFill>
                <a:effectLst/>
                <a:latin typeface="Segoe UI Light" pitchFamily="34" charset="0"/>
                <a:ea typeface="+mn-ea"/>
                <a:cs typeface="+mn-cs"/>
              </a:rPr>
              <a:t>FORCE LAST GOOD PLAN</a:t>
            </a:r>
            <a:r>
              <a:rPr lang="en-US" sz="800" b="0" i="0" u="none" strike="noStrike" kern="1200" dirty="0">
                <a:solidFill>
                  <a:schemeClr val="tx1"/>
                </a:solidFill>
                <a:effectLst/>
                <a:latin typeface="Segoe UI Light" pitchFamily="34" charset="0"/>
                <a:ea typeface="+mn-ea"/>
                <a:cs typeface="+mn-cs"/>
              </a:rPr>
              <a:t> - identifies SQL queries using execution plan that is slower than the previous good plan, and queries using the last known good plan instead of the regressed plan.</a:t>
            </a:r>
          </a:p>
          <a:p>
            <a:endParaRPr lang="en-US" sz="800" b="0" i="0" u="none" strike="noStrike" kern="1200" dirty="0">
              <a:solidFill>
                <a:schemeClr val="tx1"/>
              </a:solidFill>
              <a:effectLst/>
              <a:latin typeface="Segoe UI Light" pitchFamily="34" charset="0"/>
              <a:ea typeface="+mn-ea"/>
              <a:cs typeface="+mn-cs"/>
            </a:endParaRP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9486057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Create index recommendations</a:t>
            </a:r>
          </a:p>
          <a:p>
            <a:r>
              <a:rPr lang="en-US" sz="800" b="0" i="0" u="none" strike="noStrike" kern="1200" dirty="0">
                <a:solidFill>
                  <a:schemeClr val="tx1"/>
                </a:solidFill>
                <a:effectLst/>
                <a:latin typeface="Segoe UI Light" pitchFamily="34" charset="0"/>
                <a:ea typeface="+mn-ea"/>
                <a:cs typeface="+mn-cs"/>
              </a:rPr>
              <a:t>SQL Database continuously monitors the queries that are running and identifies the indexes that could improve performance. After there's enough confidence that a certain index is missing, a new </a:t>
            </a:r>
            <a:r>
              <a:rPr lang="en-US" sz="800" b="1" i="0" u="none" strike="noStrike" kern="1200" dirty="0">
                <a:solidFill>
                  <a:schemeClr val="tx1"/>
                </a:solidFill>
                <a:effectLst/>
                <a:latin typeface="Segoe UI Light" pitchFamily="34" charset="0"/>
                <a:ea typeface="+mn-ea"/>
                <a:cs typeface="+mn-cs"/>
              </a:rPr>
              <a:t>Create index</a:t>
            </a:r>
            <a:r>
              <a:rPr lang="en-US" sz="800" b="0" i="0" u="none" strike="noStrike" kern="1200" dirty="0">
                <a:solidFill>
                  <a:schemeClr val="tx1"/>
                </a:solidFill>
                <a:effectLst/>
                <a:latin typeface="Segoe UI Light" pitchFamily="34" charset="0"/>
                <a:ea typeface="+mn-ea"/>
                <a:cs typeface="+mn-cs"/>
              </a:rPr>
              <a:t> recommendation is created.</a:t>
            </a:r>
          </a:p>
          <a:p>
            <a:r>
              <a:rPr lang="en-US" sz="800" b="0" i="0" u="none" strike="noStrike" kern="1200" dirty="0">
                <a:solidFill>
                  <a:schemeClr val="tx1"/>
                </a:solidFill>
                <a:effectLst/>
                <a:latin typeface="Segoe UI Light" pitchFamily="34" charset="0"/>
                <a:ea typeface="+mn-ea"/>
                <a:cs typeface="+mn-cs"/>
              </a:rPr>
              <a:t>Azure SQL Database builds confidence by estimating the performance gain the index would bring through time. Depending on the estimated performance gain, recommendations are categorized as high, medium, or low. </a:t>
            </a:r>
          </a:p>
          <a:p>
            <a:r>
              <a:rPr lang="en-US" sz="800" b="0" i="0" u="none" strike="noStrike" kern="1200" dirty="0">
                <a:solidFill>
                  <a:schemeClr val="tx1"/>
                </a:solidFill>
                <a:effectLst/>
                <a:latin typeface="Segoe UI Light" pitchFamily="34" charset="0"/>
                <a:ea typeface="+mn-ea"/>
                <a:cs typeface="+mn-cs"/>
              </a:rPr>
              <a:t>Indexes that are created by using recommendations are always flagged as auto-created indexes. You can see which indexes are auto-created by looking at the </a:t>
            </a:r>
            <a:r>
              <a:rPr lang="en-US" sz="800" b="0" i="0" u="none" strike="noStrike" kern="1200" dirty="0" err="1">
                <a:solidFill>
                  <a:schemeClr val="tx1"/>
                </a:solidFill>
                <a:effectLst/>
                <a:latin typeface="Segoe UI Light" pitchFamily="34" charset="0"/>
                <a:ea typeface="+mn-ea"/>
                <a:cs typeface="+mn-cs"/>
              </a:rPr>
              <a:t>sys.indexes</a:t>
            </a:r>
            <a:r>
              <a:rPr lang="en-US" sz="800" b="0" i="0" u="none" strike="noStrike" kern="1200" dirty="0">
                <a:solidFill>
                  <a:schemeClr val="tx1"/>
                </a:solidFill>
                <a:effectLst/>
                <a:latin typeface="Segoe UI Light" pitchFamily="34" charset="0"/>
                <a:ea typeface="+mn-ea"/>
                <a:cs typeface="+mn-cs"/>
              </a:rPr>
              <a:t> view. Auto-created indexes don’t block ALTER/RENAME commands. </a:t>
            </a:r>
          </a:p>
          <a:p>
            <a:r>
              <a:rPr lang="en-US" sz="800" b="0" i="0" u="none" strike="noStrike" kern="1200" dirty="0">
                <a:solidFill>
                  <a:schemeClr val="tx1"/>
                </a:solidFill>
                <a:effectLst/>
                <a:latin typeface="Segoe UI Light" pitchFamily="34" charset="0"/>
                <a:ea typeface="+mn-ea"/>
                <a:cs typeface="+mn-cs"/>
              </a:rPr>
              <a:t>If you try to drop the column that has an auto-created index over it, the command passes. The auto-created index is dropped with the command as well. Regular indexes block the ALTER/RENAME command on columns that are indexed.</a:t>
            </a:r>
          </a:p>
          <a:p>
            <a:r>
              <a:rPr lang="en-US" sz="800" b="0" i="0" u="none" strike="noStrike" kern="1200" dirty="0">
                <a:solidFill>
                  <a:schemeClr val="tx1"/>
                </a:solidFill>
                <a:effectLst/>
                <a:latin typeface="Segoe UI Light" pitchFamily="34" charset="0"/>
                <a:ea typeface="+mn-ea"/>
                <a:cs typeface="+mn-cs"/>
              </a:rPr>
              <a:t>After the create index recommendation is applied, Azure SQL Database compares the performance of the queries with the baseline performance. If the new index improved performance, the recommendation is flagged as successful and the impact report is available. If the index didn’t improve performance, it's automatically reverted. SQL Database uses this process to ensure that recommendations improve database performance.</a:t>
            </a:r>
          </a:p>
          <a:p>
            <a:r>
              <a:rPr lang="en-US" sz="800" b="0" i="0" u="none" strike="noStrike" kern="1200" dirty="0">
                <a:solidFill>
                  <a:schemeClr val="tx1"/>
                </a:solidFill>
                <a:effectLst/>
                <a:latin typeface="Segoe UI Light" pitchFamily="34" charset="0"/>
                <a:ea typeface="+mn-ea"/>
                <a:cs typeface="+mn-cs"/>
              </a:rPr>
              <a:t>Any </a:t>
            </a:r>
            <a:r>
              <a:rPr lang="en-US" sz="800" b="1" i="0" u="none" strike="noStrike" kern="1200" dirty="0">
                <a:solidFill>
                  <a:schemeClr val="tx1"/>
                </a:solidFill>
                <a:effectLst/>
                <a:latin typeface="Segoe UI Light" pitchFamily="34" charset="0"/>
                <a:ea typeface="+mn-ea"/>
                <a:cs typeface="+mn-cs"/>
              </a:rPr>
              <a:t>create index</a:t>
            </a:r>
            <a:r>
              <a:rPr lang="en-US" sz="800" b="0" i="0" u="none" strike="noStrike" kern="1200" dirty="0">
                <a:solidFill>
                  <a:schemeClr val="tx1"/>
                </a:solidFill>
                <a:effectLst/>
                <a:latin typeface="Segoe UI Light" pitchFamily="34" charset="0"/>
                <a:ea typeface="+mn-ea"/>
                <a:cs typeface="+mn-cs"/>
              </a:rPr>
              <a:t> recommendation has a back-off policy that doesn't allow applying the recommendation if the resource usage of a database or pool is high. The back-off policy takes into account CPU, Data IO, Log IO, and available storage. </a:t>
            </a:r>
          </a:p>
          <a:p>
            <a:r>
              <a:rPr lang="en-US" sz="800" b="0" i="0" u="none" strike="noStrike" kern="1200" dirty="0">
                <a:solidFill>
                  <a:schemeClr val="tx1"/>
                </a:solidFill>
                <a:effectLst/>
                <a:latin typeface="Segoe UI Light" pitchFamily="34" charset="0"/>
                <a:ea typeface="+mn-ea"/>
                <a:cs typeface="+mn-cs"/>
              </a:rPr>
              <a:t>If CPU, Data IO, or Log IO is higher than 80% in the previous 30 minutes, the create index recommendation is postponed. If the available storage will be below 10% after the index is created, the recommendation goes into an error state. If, after a couple of days, automatic tuning still believes that the index would be beneficial, the process starts again. </a:t>
            </a:r>
          </a:p>
          <a:p>
            <a:r>
              <a:rPr lang="en-US" sz="800" b="0" i="0" u="none" strike="noStrike" kern="1200" dirty="0">
                <a:solidFill>
                  <a:schemeClr val="tx1"/>
                </a:solidFill>
                <a:effectLst/>
                <a:latin typeface="Segoe UI Light" pitchFamily="34" charset="0"/>
                <a:ea typeface="+mn-ea"/>
                <a:cs typeface="+mn-cs"/>
              </a:rPr>
              <a:t>This process repeats until there's enough available storage to create an index, or until the index isn't seen as beneficial anymore.</a:t>
            </a: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3286243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Drop index recommendations</a:t>
            </a:r>
          </a:p>
          <a:p>
            <a:r>
              <a:rPr lang="en-US" sz="800" b="0" i="0" u="none" strike="noStrike" kern="1200" dirty="0">
                <a:solidFill>
                  <a:schemeClr val="tx1"/>
                </a:solidFill>
                <a:effectLst/>
                <a:latin typeface="Segoe UI Light" pitchFamily="34" charset="0"/>
                <a:ea typeface="+mn-ea"/>
                <a:cs typeface="+mn-cs"/>
              </a:rPr>
              <a:t>Besides detecting missing indexes, SQL Database continuously analyzes the performance of existing indexes. If an index is not used, Azure SQL Database recommends dropping it. Dropping an index is recommended in two cases:</a:t>
            </a:r>
          </a:p>
          <a:p>
            <a:r>
              <a:rPr lang="en-US" sz="800" b="0" i="0" u="none" strike="noStrike" kern="1200" dirty="0">
                <a:solidFill>
                  <a:schemeClr val="tx1"/>
                </a:solidFill>
                <a:effectLst/>
                <a:latin typeface="Segoe UI Light" pitchFamily="34" charset="0"/>
                <a:ea typeface="+mn-ea"/>
                <a:cs typeface="+mn-cs"/>
              </a:rPr>
              <a:t>The index is a duplicate of another index (same indexed and included column, partition schema, and filters).</a:t>
            </a:r>
          </a:p>
          <a:p>
            <a:r>
              <a:rPr lang="en-US" sz="800" b="0" i="0" u="none" strike="noStrike" kern="1200" dirty="0">
                <a:solidFill>
                  <a:schemeClr val="tx1"/>
                </a:solidFill>
                <a:effectLst/>
                <a:latin typeface="Segoe UI Light" pitchFamily="34" charset="0"/>
                <a:ea typeface="+mn-ea"/>
                <a:cs typeface="+mn-cs"/>
              </a:rPr>
              <a:t>The index hasn't been used for a prolonged period (93 days).</a:t>
            </a:r>
          </a:p>
          <a:p>
            <a:r>
              <a:rPr lang="en-US" sz="800" b="0" i="0" u="none" strike="noStrike" kern="1200" dirty="0">
                <a:solidFill>
                  <a:schemeClr val="tx1"/>
                </a:solidFill>
                <a:effectLst/>
                <a:latin typeface="Segoe UI Light" pitchFamily="34" charset="0"/>
                <a:ea typeface="+mn-ea"/>
                <a:cs typeface="+mn-cs"/>
              </a:rPr>
              <a:t>Drop index recommendations also go through the verification after implementation. If the performance improves, the impact report is available. If performance degrades, the recommendation is reverted.</a:t>
            </a: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a:p>
        </p:txBody>
      </p:sp>
    </p:spTree>
    <p:extLst>
      <p:ext uri="{BB962C8B-B14F-4D97-AF65-F5344CB8AC3E}">
        <p14:creationId xmlns:p14="http://schemas.microsoft.com/office/powerpoint/2010/main" val="2491201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Parameterize queries recommendations</a:t>
            </a:r>
          </a:p>
          <a:p>
            <a:r>
              <a:rPr lang="en-US" sz="800" b="0" i="1" u="none" strike="noStrike" kern="1200" dirty="0">
                <a:solidFill>
                  <a:schemeClr val="tx1"/>
                </a:solidFill>
                <a:effectLst/>
                <a:latin typeface="Segoe UI Light" pitchFamily="34" charset="0"/>
                <a:ea typeface="+mn-ea"/>
                <a:cs typeface="+mn-cs"/>
              </a:rPr>
              <a:t>Parameterize queries</a:t>
            </a:r>
            <a:r>
              <a:rPr lang="en-US" sz="800" b="0" i="0" u="none" strike="noStrike" kern="1200" dirty="0">
                <a:solidFill>
                  <a:schemeClr val="tx1"/>
                </a:solidFill>
                <a:effectLst/>
                <a:latin typeface="Segoe UI Light" pitchFamily="34" charset="0"/>
                <a:ea typeface="+mn-ea"/>
                <a:cs typeface="+mn-cs"/>
              </a:rPr>
              <a:t> recommendations appear when you have one or more queries that are constantly being recompiled but end up with the same query execution plan. This condition creates an opportunity to apply forced parameterization. Forced parameterization, in turn, allows query plans to be cached and reused in the future, which improves performance and reduces resource usage. </a:t>
            </a:r>
          </a:p>
          <a:p>
            <a:r>
              <a:rPr lang="en-US" sz="800" b="0" i="0" u="none" strike="noStrike" kern="1200" dirty="0">
                <a:solidFill>
                  <a:schemeClr val="tx1"/>
                </a:solidFill>
                <a:effectLst/>
                <a:latin typeface="Segoe UI Light" pitchFamily="34" charset="0"/>
                <a:ea typeface="+mn-ea"/>
                <a:cs typeface="+mn-cs"/>
              </a:rPr>
              <a:t>Every query that's issued against SQL Server initially needs to be compiled to generate an execution plan. Each generated plan is added to the plan cache. Subsequent executions of the same query can reuse this plan from the cache, which eliminates the need for additional compilation. </a:t>
            </a:r>
          </a:p>
          <a:p>
            <a:r>
              <a:rPr lang="en-US" sz="800" b="0" i="0" u="none" strike="noStrike" kern="1200" dirty="0">
                <a:solidFill>
                  <a:schemeClr val="tx1"/>
                </a:solidFill>
                <a:effectLst/>
                <a:latin typeface="Segoe UI Light" pitchFamily="34" charset="0"/>
                <a:ea typeface="+mn-ea"/>
                <a:cs typeface="+mn-cs"/>
              </a:rPr>
              <a:t>Queries with non-parameterized values can lead to performance overhead because the execution plan is recompiled each time the non-parameterized values are different. In many cases, the same queries with different parameter values generate the same execution plans. These plans, however, are still separately added to the plan cache. </a:t>
            </a:r>
          </a:p>
          <a:p>
            <a:r>
              <a:rPr lang="en-US" sz="800" b="0" i="0" u="none" strike="noStrike" kern="1200" dirty="0">
                <a:solidFill>
                  <a:schemeClr val="tx1"/>
                </a:solidFill>
                <a:effectLst/>
                <a:latin typeface="Segoe UI Light" pitchFamily="34" charset="0"/>
                <a:ea typeface="+mn-ea"/>
                <a:cs typeface="+mn-cs"/>
              </a:rPr>
              <a:t>The process of recompiling execution plans uses database resources, increases the query duration time, and overflows the plan cache. These events, in turn, cause plans to be evicted from the cache. This SQL Server behavior can be altered by setting the forced parameterization option on the database. </a:t>
            </a:r>
          </a:p>
          <a:p>
            <a:r>
              <a:rPr lang="en-US" sz="800" b="0" i="0" u="none" strike="noStrike" kern="1200" dirty="0">
                <a:solidFill>
                  <a:schemeClr val="tx1"/>
                </a:solidFill>
                <a:effectLst/>
                <a:latin typeface="Segoe UI Light" pitchFamily="34" charset="0"/>
                <a:ea typeface="+mn-ea"/>
                <a:cs typeface="+mn-cs"/>
              </a:rPr>
              <a:t>To help you estimate the impact of this recommendation, you are provided with a comparison between the actual CPU usage and the projected CPU usage (as if the recommendation were applied). This recommendation can help you gain CPU savings. It can also help you decrease query duration and overhead for the plan cache, which means that more of the plans can stay in the cache and be reused. You can apply this recommendation quickly by selecting the </a:t>
            </a:r>
            <a:r>
              <a:rPr lang="en-US" sz="800" b="1" i="0" u="none" strike="noStrike" kern="1200" dirty="0">
                <a:solidFill>
                  <a:schemeClr val="tx1"/>
                </a:solidFill>
                <a:effectLst/>
                <a:latin typeface="Segoe UI Light" pitchFamily="34" charset="0"/>
                <a:ea typeface="+mn-ea"/>
                <a:cs typeface="+mn-cs"/>
              </a:rPr>
              <a:t>Apply</a:t>
            </a:r>
            <a:r>
              <a:rPr lang="en-US" sz="800" b="0" i="0" u="none" strike="noStrike" kern="1200" dirty="0">
                <a:solidFill>
                  <a:schemeClr val="tx1"/>
                </a:solidFill>
                <a:effectLst/>
                <a:latin typeface="Segoe UI Light" pitchFamily="34" charset="0"/>
                <a:ea typeface="+mn-ea"/>
                <a:cs typeface="+mn-cs"/>
              </a:rPr>
              <a:t> command. </a:t>
            </a:r>
          </a:p>
          <a:p>
            <a:r>
              <a:rPr lang="en-US" sz="800" b="0" i="0" u="none" strike="noStrike" kern="1200" dirty="0">
                <a:solidFill>
                  <a:schemeClr val="tx1"/>
                </a:solidFill>
                <a:effectLst/>
                <a:latin typeface="Segoe UI Light" pitchFamily="34" charset="0"/>
                <a:ea typeface="+mn-ea"/>
                <a:cs typeface="+mn-cs"/>
              </a:rPr>
              <a:t>After you apply this recommendation, it enables forced parameterization within minutes on your database. It starts the monitoring process, which lasts for approximately 24 hours. After this period, you can see the validation report. This report shows the CPU usage of your database 24 hours before and after the recommendation has been applied. SQL Database Advisor has a safety mechanism that automatically reverts the applied recommendation if performance regression has been detected.</a:t>
            </a: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14967241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lesson covers the </a:t>
            </a:r>
            <a:r>
              <a:rPr lang="en-US" sz="800" kern="1200" dirty="0">
                <a:solidFill>
                  <a:schemeClr val="bg1"/>
                </a:solidFill>
                <a:latin typeface="Segoe UI Light" pitchFamily="34" charset="0"/>
                <a:ea typeface="+mn-ea"/>
                <a:cs typeface="Segoe UI"/>
              </a:rPr>
              <a:t>Azure SQL Database Tuning using Automatic Tuning</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167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 12:36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1262184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Versions of the CE</a:t>
            </a:r>
          </a:p>
          <a:p>
            <a:pPr algn="l"/>
            <a:r>
              <a:rPr lang="en-US" b="0" i="0" dirty="0">
                <a:solidFill>
                  <a:srgbClr val="E6E6E6"/>
                </a:solidFill>
                <a:effectLst/>
                <a:latin typeface="Segoe UI" panose="020B0502040204020203" pitchFamily="34" charset="0"/>
              </a:rPr>
              <a:t>In 1998, a major update of the CE was part of SQL Server 7.0, for which the compatibility level was 70. This version of the CE model is set on four basic assumptions:</a:t>
            </a:r>
          </a:p>
          <a:p>
            <a:pPr algn="l">
              <a:buFont typeface="Arial" panose="020B0604020202020204" pitchFamily="34" charset="0"/>
              <a:buChar char="•"/>
            </a:pPr>
            <a:r>
              <a:rPr lang="en-US" b="1" i="0" dirty="0">
                <a:solidFill>
                  <a:srgbClr val="E6E6E6"/>
                </a:solidFill>
                <a:effectLst/>
                <a:latin typeface="Segoe UI" panose="020B0502040204020203" pitchFamily="34" charset="0"/>
              </a:rPr>
              <a:t>Independence:</a:t>
            </a:r>
            <a:r>
              <a:rPr lang="en-US" b="0" i="0" dirty="0">
                <a:solidFill>
                  <a:srgbClr val="E6E6E6"/>
                </a:solidFill>
                <a:effectLst/>
                <a:latin typeface="Segoe UI" panose="020B0502040204020203" pitchFamily="34" charset="0"/>
              </a:rPr>
              <a:t> Data distributions on different columns are assumed to be independent of each other, unless correlation information is available and usable.</a:t>
            </a:r>
          </a:p>
          <a:p>
            <a:pPr algn="l">
              <a:buFont typeface="Arial" panose="020B0604020202020204" pitchFamily="34" charset="0"/>
              <a:buChar char="•"/>
            </a:pPr>
            <a:r>
              <a:rPr lang="en-US" b="1" i="0" dirty="0">
                <a:solidFill>
                  <a:srgbClr val="E6E6E6"/>
                </a:solidFill>
                <a:effectLst/>
                <a:latin typeface="Segoe UI" panose="020B0502040204020203" pitchFamily="34" charset="0"/>
              </a:rPr>
              <a:t>Uniformity:</a:t>
            </a:r>
            <a:r>
              <a:rPr lang="en-US" b="0" i="0" dirty="0">
                <a:solidFill>
                  <a:srgbClr val="E6E6E6"/>
                </a:solidFill>
                <a:effectLst/>
                <a:latin typeface="Segoe UI" panose="020B0502040204020203" pitchFamily="34" charset="0"/>
              </a:rPr>
              <a:t> Distinct values are evenly spaced and that they all have the same frequency. More precisely, within each </a:t>
            </a:r>
            <a:r>
              <a:rPr lang="en-US" b="0" i="0" u="none" strike="noStrike" dirty="0">
                <a:solidFill>
                  <a:srgbClr val="E6E6E6"/>
                </a:solidFill>
                <a:effectLst/>
                <a:latin typeface="Segoe UI" panose="020B0502040204020203" pitchFamily="34" charset="0"/>
                <a:hlinkClick r:id="rId3"/>
              </a:rPr>
              <a:t>histogram</a:t>
            </a:r>
            <a:r>
              <a:rPr lang="en-US" b="0" i="0" dirty="0">
                <a:solidFill>
                  <a:srgbClr val="E6E6E6"/>
                </a:solidFill>
                <a:effectLst/>
                <a:latin typeface="Segoe UI" panose="020B0502040204020203" pitchFamily="34" charset="0"/>
              </a:rPr>
              <a:t> step, distinct values are evenly spread and each value has same frequency.</a:t>
            </a:r>
          </a:p>
          <a:p>
            <a:pPr algn="l">
              <a:buFont typeface="Arial" panose="020B0604020202020204" pitchFamily="34" charset="0"/>
              <a:buChar char="•"/>
            </a:pPr>
            <a:r>
              <a:rPr lang="en-US" b="1" i="0" dirty="0">
                <a:solidFill>
                  <a:srgbClr val="E6E6E6"/>
                </a:solidFill>
                <a:effectLst/>
                <a:latin typeface="Segoe UI" panose="020B0502040204020203" pitchFamily="34" charset="0"/>
              </a:rPr>
              <a:t>Containment (Simple):</a:t>
            </a:r>
            <a:r>
              <a:rPr lang="en-US" b="0" i="0" dirty="0">
                <a:solidFill>
                  <a:srgbClr val="E6E6E6"/>
                </a:solidFill>
                <a:effectLst/>
                <a:latin typeface="Segoe UI" panose="020B0502040204020203" pitchFamily="34" charset="0"/>
              </a:rPr>
              <a:t> Users query for data that exists. For example, for an equality join between two tables, factor in the predicates selectivity</a:t>
            </a:r>
            <a:r>
              <a:rPr lang="en-US" b="0" i="0" baseline="30000" dirty="0">
                <a:solidFill>
                  <a:srgbClr val="E6E6E6"/>
                </a:solidFill>
                <a:effectLst/>
                <a:latin typeface="Segoe UI" panose="020B0502040204020203" pitchFamily="34" charset="0"/>
              </a:rPr>
              <a:t>1</a:t>
            </a:r>
            <a:r>
              <a:rPr lang="en-US" b="0" i="0" dirty="0">
                <a:solidFill>
                  <a:srgbClr val="E6E6E6"/>
                </a:solidFill>
                <a:effectLst/>
                <a:latin typeface="Segoe UI" panose="020B0502040204020203" pitchFamily="34" charset="0"/>
              </a:rPr>
              <a:t> in each input histogram, before joining histograms to estimate the join selectivity.</a:t>
            </a:r>
          </a:p>
          <a:p>
            <a:pPr algn="l">
              <a:buFont typeface="Arial" panose="020B0604020202020204" pitchFamily="34" charset="0"/>
              <a:buChar char="•"/>
            </a:pPr>
            <a:r>
              <a:rPr lang="en-US" b="1" i="0" dirty="0">
                <a:solidFill>
                  <a:srgbClr val="E6E6E6"/>
                </a:solidFill>
                <a:effectLst/>
                <a:latin typeface="Segoe UI" panose="020B0502040204020203" pitchFamily="34" charset="0"/>
              </a:rPr>
              <a:t>Inclusion:</a:t>
            </a:r>
            <a:r>
              <a:rPr lang="en-US" b="0" i="0" dirty="0">
                <a:solidFill>
                  <a:srgbClr val="E6E6E6"/>
                </a:solidFill>
                <a:effectLst/>
                <a:latin typeface="Segoe UI" panose="020B0502040204020203" pitchFamily="34" charset="0"/>
              </a:rPr>
              <a:t> For filter predicates where Column = Constant, the constant is assumed to actually exist for the associated column. If a corresponding histogram step is non-empty, one of the step's distinct values is assumed to match the value from the predicate.</a:t>
            </a:r>
          </a:p>
          <a:p>
            <a:pPr algn="l">
              <a:buFont typeface="Arial" panose="020B0604020202020204" pitchFamily="34" charset="0"/>
              <a:buChar char="•"/>
            </a:pPr>
            <a:r>
              <a:rPr lang="en-US" b="0" i="0" baseline="30000" dirty="0">
                <a:solidFill>
                  <a:srgbClr val="E6E6E6"/>
                </a:solidFill>
                <a:effectLst/>
                <a:latin typeface="Segoe UI" panose="020B0502040204020203" pitchFamily="34" charset="0"/>
              </a:rPr>
              <a:t>1</a:t>
            </a:r>
            <a:r>
              <a:rPr lang="en-US" b="0" i="0" dirty="0">
                <a:solidFill>
                  <a:srgbClr val="E6E6E6"/>
                </a:solidFill>
                <a:effectLst/>
                <a:latin typeface="Segoe UI" panose="020B0502040204020203" pitchFamily="34" charset="0"/>
              </a:rPr>
              <a:t> Row count that satisfies the predicate.</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Subsequent updates started with SQL Server 2014 (12.x), </a:t>
            </a:r>
            <a:r>
              <a:rPr lang="en-US" b="0" i="0" dirty="0">
                <a:solidFill>
                  <a:srgbClr val="E6E6E6"/>
                </a:solidFill>
                <a:effectLst/>
                <a:latin typeface="Segoe UI" panose="020B0502040204020203" pitchFamily="34" charset="0"/>
              </a:rPr>
              <a:t>meaning compatibility levels 120 and above. The CE updates for levels 120 and above incorporate updated assumptions and algorithms that work well on modern data warehousing and on OLTP workloads. From the CE 70 assumptions, the following model assumptions were changed starting with CE 120:</a:t>
            </a:r>
          </a:p>
          <a:p>
            <a:pPr algn="l">
              <a:buFont typeface="Arial" panose="020B0604020202020204" pitchFamily="34" charset="0"/>
              <a:buChar char="•"/>
            </a:pPr>
            <a:r>
              <a:rPr lang="en-US" b="1" i="0" dirty="0">
                <a:solidFill>
                  <a:srgbClr val="E6E6E6"/>
                </a:solidFill>
                <a:effectLst/>
                <a:latin typeface="Segoe UI" panose="020B0502040204020203" pitchFamily="34" charset="0"/>
              </a:rPr>
              <a:t>Independence</a:t>
            </a:r>
            <a:r>
              <a:rPr lang="en-US" b="0" i="0" dirty="0">
                <a:solidFill>
                  <a:srgbClr val="E6E6E6"/>
                </a:solidFill>
                <a:effectLst/>
                <a:latin typeface="Segoe UI" panose="020B0502040204020203" pitchFamily="34" charset="0"/>
              </a:rPr>
              <a:t> becomes </a:t>
            </a:r>
            <a:r>
              <a:rPr lang="en-US" b="1" i="0" dirty="0">
                <a:solidFill>
                  <a:srgbClr val="E6E6E6"/>
                </a:solidFill>
                <a:effectLst/>
                <a:latin typeface="Segoe UI" panose="020B0502040204020203" pitchFamily="34" charset="0"/>
              </a:rPr>
              <a:t>Correlation:</a:t>
            </a:r>
            <a:r>
              <a:rPr lang="en-US" b="0" i="0" dirty="0">
                <a:solidFill>
                  <a:srgbClr val="E6E6E6"/>
                </a:solidFill>
                <a:effectLst/>
                <a:latin typeface="Segoe UI" panose="020B0502040204020203" pitchFamily="34" charset="0"/>
              </a:rPr>
              <a:t> The combination of the different column values are not necessarily independent. This may resemble more real-life data querying.</a:t>
            </a:r>
          </a:p>
          <a:p>
            <a:pPr algn="l">
              <a:buFont typeface="Arial" panose="020B0604020202020204" pitchFamily="34" charset="0"/>
              <a:buChar char="•"/>
            </a:pPr>
            <a:r>
              <a:rPr lang="en-US" b="1" i="0" dirty="0">
                <a:solidFill>
                  <a:srgbClr val="E6E6E6"/>
                </a:solidFill>
                <a:effectLst/>
                <a:latin typeface="Segoe UI" panose="020B0502040204020203" pitchFamily="34" charset="0"/>
              </a:rPr>
              <a:t>Simple Containment</a:t>
            </a:r>
            <a:r>
              <a:rPr lang="en-US" b="0" i="0" dirty="0">
                <a:solidFill>
                  <a:srgbClr val="E6E6E6"/>
                </a:solidFill>
                <a:effectLst/>
                <a:latin typeface="Segoe UI" panose="020B0502040204020203" pitchFamily="34" charset="0"/>
              </a:rPr>
              <a:t> becomes </a:t>
            </a:r>
            <a:r>
              <a:rPr lang="en-US" b="1" i="0" dirty="0">
                <a:solidFill>
                  <a:srgbClr val="E6E6E6"/>
                </a:solidFill>
                <a:effectLst/>
                <a:latin typeface="Segoe UI" panose="020B0502040204020203" pitchFamily="34" charset="0"/>
              </a:rPr>
              <a:t>Base Containment:</a:t>
            </a:r>
            <a:r>
              <a:rPr lang="en-US" b="0" i="0" dirty="0">
                <a:solidFill>
                  <a:srgbClr val="E6E6E6"/>
                </a:solidFill>
                <a:effectLst/>
                <a:latin typeface="Segoe UI" panose="020B0502040204020203" pitchFamily="34" charset="0"/>
              </a:rPr>
              <a:t> Users might query for data that does not exist. For example, for an equality join between two tables, we use the base tables histograms to estimate the join selectivity, and then factor in the predicates selectivity.</a:t>
            </a:r>
          </a:p>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6744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sql/relational-databases/performance/intelligent-query-processing?view=sql-server-ver16</a:t>
            </a:r>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9614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749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9065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4466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4914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2141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839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4802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0674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00430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95970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5575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602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102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052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3345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867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lesson covers </a:t>
            </a:r>
            <a:r>
              <a:rPr lang="en-US" sz="800" kern="1200" dirty="0">
                <a:solidFill>
                  <a:schemeClr val="bg1"/>
                </a:solidFill>
                <a:latin typeface="Segoe UI Light" pitchFamily="34" charset="0"/>
                <a:ea typeface="+mn-ea"/>
                <a:cs typeface="Segoe UI"/>
              </a:rPr>
              <a:t>Monitoring Query Performance using Query Performance Insight</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42069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673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3662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303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0431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2710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5924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1885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1922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165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Managing and tuning the performance of relational databases is a challenging task that requires significant expertise and time investment. Query Performance Insight allows you to spend less time troubleshooting database performance by providing the following:+ </a:t>
            </a:r>
          </a:p>
          <a:p>
            <a:pPr rtl="0"/>
            <a:r>
              <a:rPr lang="en-US" dirty="0"/>
              <a:t>Deeper insight into your databases resource (DTU) consumption. </a:t>
            </a:r>
          </a:p>
          <a:p>
            <a:pPr rtl="0"/>
            <a:r>
              <a:rPr lang="en-US" dirty="0"/>
              <a:t>The top queries by CPU/Duration/Execution count, which can potentially be tuned for improved performance.</a:t>
            </a:r>
          </a:p>
          <a:p>
            <a:pPr rtl="0"/>
            <a:r>
              <a:rPr lang="en-US" dirty="0"/>
              <a:t>The ability to drill down into the details of a query, view its text and history of resource utilization. </a:t>
            </a:r>
          </a:p>
          <a:p>
            <a:pPr rtl="0"/>
            <a:r>
              <a:rPr lang="en-US" dirty="0"/>
              <a:t>Performance tuning annotations that show actions performed by </a:t>
            </a:r>
            <a:r>
              <a:rPr lang="en-US" dirty="0">
                <a:hlinkClick r:id="rId3"/>
              </a:rPr>
              <a:t>SQL Azure Database Advisor</a:t>
            </a:r>
            <a:r>
              <a:rPr lang="en-US" dirty="0"/>
              <a:t> </a:t>
            </a:r>
          </a:p>
          <a:p>
            <a:endParaRPr lang="nl-BE" dirty="0"/>
          </a:p>
          <a:p>
            <a:pPr rtl="0"/>
            <a:r>
              <a:rPr lang="en-US" dirty="0"/>
              <a:t>Open </a:t>
            </a:r>
            <a:r>
              <a:rPr lang="en-US" dirty="0">
                <a:hlinkClick r:id="rId4"/>
              </a:rPr>
              <a:t>Azure portal</a:t>
            </a:r>
            <a:r>
              <a:rPr lang="en-US" dirty="0"/>
              <a:t> and find database that you want to examine. </a:t>
            </a:r>
          </a:p>
          <a:p>
            <a:pPr lvl="1" rtl="0"/>
            <a:r>
              <a:rPr lang="en-US" dirty="0"/>
              <a:t>From left-hand side menu, under support and troubleshooting, select “Query Performance Insight”.</a:t>
            </a:r>
          </a:p>
          <a:p>
            <a:pPr rtl="0"/>
            <a:r>
              <a:rPr lang="en-US" dirty="0"/>
              <a:t>On the first tab, review the list of top resource-consuming queries.</a:t>
            </a:r>
          </a:p>
          <a:p>
            <a:pPr rtl="0"/>
            <a:r>
              <a:rPr lang="en-US" dirty="0"/>
              <a:t>Select an individual query to view its details.</a:t>
            </a:r>
          </a:p>
          <a:p>
            <a:pPr rtl="0"/>
            <a:r>
              <a:rPr lang="en-US" dirty="0"/>
              <a:t>Open </a:t>
            </a:r>
            <a:r>
              <a:rPr lang="en-US" dirty="0">
                <a:hlinkClick r:id="rId3"/>
              </a:rPr>
              <a:t>SQL Azure Database Advisor</a:t>
            </a:r>
            <a:r>
              <a:rPr lang="en-US" dirty="0"/>
              <a:t> and check if any recommendations are available.</a:t>
            </a:r>
          </a:p>
          <a:p>
            <a:pPr rtl="0"/>
            <a:r>
              <a:rPr lang="en-US" dirty="0"/>
              <a:t>Use sliders or zoom icons to change observed interval.</a:t>
            </a:r>
          </a:p>
          <a:p>
            <a:endParaRPr lang="nl-BE" dirty="0"/>
          </a:p>
          <a:p>
            <a:endParaRPr lang="nl-BE" dirty="0"/>
          </a:p>
          <a:p>
            <a:r>
              <a:rPr lang="en-US" dirty="0"/>
              <a:t>The top line shows overall DTU% for the database, while the bars show CPU% consumed by the selected queries during the selected interval (for example, if </a:t>
            </a:r>
            <a:r>
              <a:rPr lang="en-US" b="1" dirty="0"/>
              <a:t>Past week</a:t>
            </a:r>
            <a:r>
              <a:rPr lang="en-US" dirty="0"/>
              <a:t> is selected each bar represents one day).</a:t>
            </a:r>
          </a:p>
          <a:p>
            <a:endParaRPr lang="en-US" dirty="0"/>
          </a:p>
          <a:p>
            <a:pPr rtl="0"/>
            <a:r>
              <a:rPr lang="en-US" dirty="0"/>
              <a:t>The bottom grid represents aggregated information for the visible queries.</a:t>
            </a:r>
          </a:p>
          <a:p>
            <a:pPr lvl="1" rtl="0"/>
            <a:r>
              <a:rPr lang="en-US" dirty="0"/>
              <a:t>Query ID - unique identifier of query inside database.</a:t>
            </a:r>
          </a:p>
          <a:p>
            <a:pPr lvl="1" rtl="0"/>
            <a:r>
              <a:rPr lang="en-US" dirty="0"/>
              <a:t>CPU per query during observable interval (depends on aggregation function).</a:t>
            </a:r>
          </a:p>
          <a:p>
            <a:pPr lvl="1" rtl="0"/>
            <a:r>
              <a:rPr lang="en-US" dirty="0"/>
              <a:t>Duration per query (depends on aggregation function).</a:t>
            </a:r>
          </a:p>
          <a:p>
            <a:pPr lvl="1" rtl="0"/>
            <a:r>
              <a:rPr lang="en-US" dirty="0"/>
              <a:t>Total number of executions for a particular query.</a:t>
            </a: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5827233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3731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4067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5665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4221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2304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2395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295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8832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9841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2705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 any query in the list of top queries.</a:t>
            </a:r>
          </a:p>
          <a:p>
            <a:pPr rtl="0"/>
            <a:r>
              <a:rPr lang="en-US" dirty="0"/>
              <a:t>The details view opens and the queries CPU consumption/Duration/Execution count is broken down over time.</a:t>
            </a:r>
          </a:p>
          <a:p>
            <a:pPr rtl="0"/>
            <a:r>
              <a:rPr lang="en-US" dirty="0"/>
              <a:t>Click around the chart for details.</a:t>
            </a:r>
          </a:p>
          <a:p>
            <a:pPr lvl="1" rtl="0"/>
            <a:r>
              <a:rPr lang="en-US" dirty="0"/>
              <a:t>Top chart shows line with overall database DTU%, and the bars are CPU% consumed by the selected query.</a:t>
            </a:r>
          </a:p>
          <a:p>
            <a:pPr lvl="1" rtl="0"/>
            <a:r>
              <a:rPr lang="en-US" dirty="0"/>
              <a:t>Second chart shows total duration by the selected query.</a:t>
            </a:r>
          </a:p>
          <a:p>
            <a:pPr lvl="1" rtl="0"/>
            <a:r>
              <a:rPr lang="en-US" dirty="0"/>
              <a:t>Bottom chart shows total number of executions by the selected query.</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765386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2529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For each predicate chosen, we will bucketize them into predicate cardinality ranges based on the runtime cardinality. These plan variants are NOT pre-generated.</a:t>
            </a:r>
          </a:p>
          <a:p>
            <a:pPr marL="0" indent="0">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x of 200 plans in QS, 27 plans in cache (up to 3 predicates </a:t>
            </a:r>
            <a:r>
              <a:rPr lang="en-US" dirty="0" err="1"/>
              <a:t>pwr</a:t>
            </a:r>
            <a:r>
              <a:rPr lang="en-US" dirty="0"/>
              <a:t> 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1B81E1-D1CF-456A-834B-29B6EF5288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0136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0138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69</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8/11/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29901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In the recent update of Query Performance Insight, we introduced two new metrics that can help you identify potential bottlenecks: duration and execution count.</a:t>
            </a:r>
            <a:br>
              <a:rPr lang="en-US" dirty="0"/>
            </a:br>
            <a:endParaRPr lang="en-US" dirty="0"/>
          </a:p>
          <a:p>
            <a:pPr rtl="0"/>
            <a:r>
              <a:rPr lang="en-US" dirty="0"/>
              <a:t>Long-running queries have the greatest potential for locking resources longer, blocking other users, and limiting scalability. They are also the best candidates for optimization.</a:t>
            </a:r>
          </a:p>
          <a:p>
            <a:pPr rtl="0"/>
            <a:r>
              <a:rPr lang="en-US" dirty="0"/>
              <a:t>Open </a:t>
            </a:r>
            <a:r>
              <a:rPr lang="en-US" b="1" dirty="0"/>
              <a:t>Custom</a:t>
            </a:r>
            <a:r>
              <a:rPr lang="en-US" dirty="0"/>
              <a:t> tab in Query Performance Insight for selected database</a:t>
            </a:r>
          </a:p>
          <a:p>
            <a:pPr rtl="0"/>
            <a:r>
              <a:rPr lang="en-US" dirty="0"/>
              <a:t>Change metrics to be </a:t>
            </a:r>
            <a:r>
              <a:rPr lang="en-US" b="1" dirty="0"/>
              <a:t>duration</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1783294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High number of executions might not be affecting database itself and resources usage can be low, but overall application might get slow.+ </a:t>
            </a:r>
          </a:p>
          <a:p>
            <a:pPr rtl="0"/>
            <a:r>
              <a:rPr lang="en-US" dirty="0"/>
              <a:t>In some cases, very high execution count may lead to increase of network round trips. Round trips significantly affect performance. They are subject to network latency and to downstream server latency.  </a:t>
            </a:r>
          </a:p>
          <a:p>
            <a:pPr rtl="0"/>
            <a:r>
              <a:rPr lang="en-US" dirty="0"/>
              <a:t>For example, many data-driven Web sites heavily access the database for every user request. While connection pooling helps, the increased network traffic and processing load on the database server can adversely affect performance. General advice is to keep round trips to an absolute minimum.+ </a:t>
            </a:r>
          </a:p>
          <a:p>
            <a:pPr rtl="0"/>
            <a:r>
              <a:rPr lang="en-US" dirty="0"/>
              <a:t>To identify frequently executed queries (“chatty”) queries:+ </a:t>
            </a:r>
          </a:p>
          <a:p>
            <a:pPr rtl="0"/>
            <a:r>
              <a:rPr lang="en-US" dirty="0"/>
              <a:t>Open </a:t>
            </a:r>
            <a:r>
              <a:rPr lang="en-US" b="1" dirty="0"/>
              <a:t>Custom</a:t>
            </a:r>
            <a:r>
              <a:rPr lang="en-US" dirty="0"/>
              <a:t> tab in Query Performance Insight for selected database</a:t>
            </a:r>
          </a:p>
          <a:p>
            <a:pPr rtl="0"/>
            <a:r>
              <a:rPr lang="en-US" dirty="0"/>
              <a:t>Change metrics to be </a:t>
            </a:r>
            <a:r>
              <a:rPr lang="en-US" b="1" dirty="0"/>
              <a:t>execution count</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2878255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dirty="0">
                <a:solidFill>
                  <a:srgbClr val="000000"/>
                </a:solidFill>
                <a:latin typeface="Consolas" panose="020B0609020204030204" pitchFamily="49" charset="0"/>
              </a:rPr>
              <a:t>M05L02Demo01</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Demo Requirements</a:t>
            </a:r>
            <a:endParaRPr lang="en-US" b="0" dirty="0"/>
          </a:p>
          <a:p>
            <a:pPr marL="171450" indent="-171450">
              <a:buFontTx/>
              <a:buChar char="-"/>
            </a:pPr>
            <a:r>
              <a:rPr lang="en-US" b="0" dirty="0" err="1"/>
              <a:t>Salesdb</a:t>
            </a:r>
            <a:r>
              <a:rPr lang="en-US" b="0" dirty="0"/>
              <a:t> that was created in module 1</a:t>
            </a:r>
          </a:p>
          <a:p>
            <a:pPr marL="171450" indent="-171450">
              <a:buFontTx/>
              <a:buChar char="-"/>
            </a:pPr>
            <a:r>
              <a:rPr lang="en-US" b="0" dirty="0"/>
              <a:t>Use the script </a:t>
            </a:r>
            <a:r>
              <a:rPr lang="en-US" b="1" dirty="0"/>
              <a:t>C:\Demos\M05L02Demo01\Workload.sql</a:t>
            </a:r>
            <a:r>
              <a:rPr lang="en-US" b="0" dirty="0"/>
              <a:t>. </a:t>
            </a:r>
          </a:p>
          <a:p>
            <a:pPr marL="171450" indent="-171450">
              <a:buFontTx/>
              <a:buChar char="-"/>
            </a:pPr>
            <a:r>
              <a:rPr lang="en-US" b="0" dirty="0"/>
              <a:t>Make sure that you have already created and populated the table because this takes a few minutes to complete</a:t>
            </a:r>
          </a:p>
          <a:p>
            <a:pPr marL="171450" indent="-171450">
              <a:buFontTx/>
              <a:buChar char="-"/>
            </a:pPr>
            <a:r>
              <a:rPr lang="en-US" b="0" dirty="0"/>
              <a:t>SSMS</a:t>
            </a:r>
          </a:p>
          <a:p>
            <a:pPr marL="171450" indent="-171450">
              <a:buFontTx/>
              <a:buChar char="-"/>
            </a:pPr>
            <a:endParaRPr lang="en-US" b="0" dirty="0"/>
          </a:p>
          <a:p>
            <a:pPr marL="0" indent="0">
              <a:buFontTx/>
              <a:buNone/>
            </a:pPr>
            <a:r>
              <a:rPr lang="en-US" b="1" dirty="0"/>
              <a:t>Steps:</a:t>
            </a:r>
            <a:endParaRPr lang="en-US" b="0" dirty="0"/>
          </a:p>
          <a:p>
            <a:pPr marL="228600" indent="-228600">
              <a:buFontTx/>
              <a:buAutoNum type="arabicPeriod"/>
            </a:pPr>
            <a:r>
              <a:rPr lang="en-US" b="0" dirty="0"/>
              <a:t>Open your SSMS, connect to your logical server</a:t>
            </a:r>
          </a:p>
          <a:p>
            <a:pPr marL="228600" indent="-228600">
              <a:buFontTx/>
              <a:buAutoNum type="arabicPeriod"/>
            </a:pPr>
            <a:r>
              <a:rPr lang="en-US" b="0" dirty="0"/>
              <a:t>Right click on the </a:t>
            </a:r>
            <a:r>
              <a:rPr lang="en-US" b="0" dirty="0" err="1"/>
              <a:t>salesdb</a:t>
            </a:r>
            <a:r>
              <a:rPr lang="en-US" b="0" dirty="0"/>
              <a:t> and select Properties </a:t>
            </a:r>
            <a:r>
              <a:rPr lang="en-US" b="0" dirty="0">
                <a:sym typeface="Wingdings" panose="05000000000000000000" pitchFamily="2" charset="2"/>
              </a:rPr>
              <a:t> Query Store</a:t>
            </a:r>
          </a:p>
          <a:p>
            <a:pPr marL="228600" indent="-228600">
              <a:buFontTx/>
              <a:buAutoNum type="arabicPeriod"/>
            </a:pPr>
            <a:r>
              <a:rPr lang="en-US" b="0" dirty="0">
                <a:sym typeface="Wingdings" panose="05000000000000000000" pitchFamily="2" charset="2"/>
              </a:rPr>
              <a:t>Change the following settings:</a:t>
            </a:r>
          </a:p>
          <a:p>
            <a:pPr marL="445862" lvl="1" indent="-228600">
              <a:buFontTx/>
              <a:buAutoNum type="arabicPeriod"/>
            </a:pPr>
            <a:r>
              <a:rPr lang="en-US" b="0" dirty="0">
                <a:sym typeface="Wingdings" panose="05000000000000000000" pitchFamily="2" charset="2"/>
              </a:rPr>
              <a:t>Data Flush Interval  1min</a:t>
            </a:r>
          </a:p>
          <a:p>
            <a:pPr marL="445862" lvl="1" indent="-228600">
              <a:buFontTx/>
              <a:buAutoNum type="arabicPeriod"/>
            </a:pPr>
            <a:r>
              <a:rPr lang="en-US" b="0" dirty="0">
                <a:sym typeface="Wingdings" panose="05000000000000000000" pitchFamily="2" charset="2"/>
              </a:rPr>
              <a:t>Statistics Collection Interval  1 Minute</a:t>
            </a:r>
          </a:p>
          <a:p>
            <a:pPr marL="228600" lvl="0" indent="-228600">
              <a:buFontTx/>
              <a:buAutoNum type="arabicPeriod"/>
            </a:pPr>
            <a:r>
              <a:rPr lang="en-US" b="0" dirty="0">
                <a:sym typeface="Wingdings" panose="05000000000000000000" pitchFamily="2" charset="2"/>
              </a:rPr>
              <a:t>Click on “Purge Query Data” to empty the Query Store</a:t>
            </a:r>
          </a:p>
          <a:p>
            <a:pPr marL="228600" lvl="0" indent="-228600">
              <a:buFontTx/>
              <a:buAutoNum type="arabicPeriod"/>
            </a:pPr>
            <a:r>
              <a:rPr lang="en-US" b="0" dirty="0">
                <a:sym typeface="Wingdings" panose="05000000000000000000" pitchFamily="2" charset="2"/>
              </a:rPr>
              <a:t>Open the </a:t>
            </a:r>
            <a:r>
              <a:rPr lang="en-US" b="0" dirty="0" err="1">
                <a:sym typeface="Wingdings" panose="05000000000000000000" pitchFamily="2" charset="2"/>
              </a:rPr>
              <a:t>Workload.sql</a:t>
            </a:r>
            <a:r>
              <a:rPr lang="en-US" b="0" dirty="0">
                <a:sym typeface="Wingdings" panose="05000000000000000000" pitchFamily="2" charset="2"/>
              </a:rPr>
              <a:t> file and execute the stored procedure</a:t>
            </a:r>
          </a:p>
          <a:p>
            <a:r>
              <a:rPr lang="en-US" b="0" dirty="0">
                <a:sym typeface="Wingdings" panose="05000000000000000000" pitchFamily="2" charset="2"/>
              </a:rPr>
              <a:t>	</a:t>
            </a: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3</a:t>
            </a:r>
          </a:p>
          <a:p>
            <a:pPr marL="510093" lvl="4" indent="0">
              <a:buNone/>
            </a:pPr>
            <a:r>
              <a:rPr lang="nl-BE" sz="900" kern="1200" dirty="0">
                <a:solidFill>
                  <a:schemeClr val="tx1"/>
                </a:solidFill>
                <a:latin typeface="Segoe UI Light" pitchFamily="34" charset="0"/>
                <a:ea typeface="+mn-ea"/>
                <a:cs typeface="+mn-cs"/>
              </a:rPr>
              <a:t>GO 20</a:t>
            </a:r>
          </a:p>
          <a:p>
            <a:pPr marL="510093" lvl="4" indent="0">
              <a:buNone/>
            </a:pP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1023</a:t>
            </a:r>
          </a:p>
          <a:p>
            <a:pPr marL="510093" lvl="4" indent="0">
              <a:buNone/>
            </a:pPr>
            <a:r>
              <a:rPr lang="nl-BE" sz="900" kern="1200" dirty="0">
                <a:solidFill>
                  <a:schemeClr val="tx1"/>
                </a:solidFill>
                <a:latin typeface="Segoe UI Light" pitchFamily="34" charset="0"/>
                <a:ea typeface="+mn-ea"/>
                <a:cs typeface="+mn-cs"/>
              </a:rPr>
              <a:t>GO 20</a:t>
            </a:r>
            <a:endParaRPr lang="en-US" sz="900" b="1"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6. Create the non-clustered index and execute the stored procedure </a:t>
            </a: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3 again</a:t>
            </a:r>
          </a:p>
          <a:p>
            <a:pPr marL="0" lvl="0" indent="-117403">
              <a:buNone/>
            </a:pPr>
            <a:r>
              <a:rPr lang="en-US" sz="900" b="0" kern="1200" dirty="0">
                <a:solidFill>
                  <a:schemeClr val="tx1"/>
                </a:solidFill>
                <a:latin typeface="Segoe UI Light" pitchFamily="34" charset="0"/>
                <a:ea typeface="+mn-ea"/>
                <a:cs typeface="+mn-cs"/>
              </a:rPr>
              <a:t>7. Wait for 1 minute so that the query store can collect the execution times and the Query plans. You should see 2 query plans for the same query</a:t>
            </a:r>
          </a:p>
          <a:p>
            <a:pPr marL="0" lvl="0" indent="-117403">
              <a:buNone/>
            </a:pPr>
            <a:endParaRPr lang="en-US" sz="900" b="0"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8. Open the Azure Portal, go to the </a:t>
            </a:r>
            <a:r>
              <a:rPr lang="en-US" sz="900" b="0" kern="1200" dirty="0" err="1">
                <a:solidFill>
                  <a:schemeClr val="tx1"/>
                </a:solidFill>
                <a:latin typeface="Segoe UI Light" pitchFamily="34" charset="0"/>
                <a:ea typeface="+mn-ea"/>
                <a:cs typeface="+mn-cs"/>
              </a:rPr>
              <a:t>salesdb</a:t>
            </a:r>
            <a:r>
              <a:rPr lang="en-US" sz="900" b="0" kern="1200" dirty="0">
                <a:solidFill>
                  <a:schemeClr val="tx1"/>
                </a:solidFill>
                <a:latin typeface="Segoe UI Light" pitchFamily="34" charset="0"/>
                <a:ea typeface="+mn-ea"/>
                <a:cs typeface="+mn-cs"/>
              </a:rPr>
              <a:t> and click on Query Performance Insight</a:t>
            </a:r>
          </a:p>
          <a:p>
            <a:pPr marL="0" lvl="0" indent="-117403">
              <a:buNone/>
            </a:pPr>
            <a:r>
              <a:rPr lang="en-US" sz="900" b="0" kern="1200" dirty="0">
                <a:solidFill>
                  <a:schemeClr val="tx1"/>
                </a:solidFill>
                <a:latin typeface="Segoe UI Light" pitchFamily="34" charset="0"/>
                <a:ea typeface="+mn-ea"/>
                <a:cs typeface="+mn-cs"/>
              </a:rPr>
              <a:t>9. The query of the stored procedure should be available.</a:t>
            </a:r>
          </a:p>
          <a:p>
            <a:pPr marL="0" lvl="0" indent="-117403">
              <a:buNone/>
            </a:pPr>
            <a:r>
              <a:rPr lang="en-US" sz="900" b="0" kern="1200" dirty="0">
                <a:solidFill>
                  <a:schemeClr val="tx1"/>
                </a:solidFill>
                <a:latin typeface="Segoe UI Light" pitchFamily="34" charset="0"/>
                <a:ea typeface="+mn-ea"/>
                <a:cs typeface="+mn-cs"/>
              </a:rPr>
              <a:t>10. Show the dashboard of the resource consuming query and click on the query to drill down in more execution statistics of the query</a:t>
            </a:r>
          </a:p>
          <a:p>
            <a:pPr marL="0" lvl="0" indent="-117403">
              <a:buNone/>
            </a:pPr>
            <a:endParaRPr lang="en-US" sz="900" b="0"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11. Go back to the Object Explorer of SSMS </a:t>
            </a:r>
            <a:r>
              <a:rPr lang="en-US" sz="900" b="0" kern="1200" dirty="0">
                <a:solidFill>
                  <a:schemeClr val="tx1"/>
                </a:solidFill>
                <a:latin typeface="Segoe UI Light" pitchFamily="34" charset="0"/>
                <a:ea typeface="+mn-ea"/>
                <a:cs typeface="+mn-cs"/>
                <a:sym typeface="Wingdings" panose="05000000000000000000" pitchFamily="2" charset="2"/>
              </a:rPr>
              <a:t> Query store  Top Resource Consuming Queries</a:t>
            </a:r>
          </a:p>
          <a:p>
            <a:pPr marL="0" lvl="0" indent="-117403">
              <a:buNone/>
            </a:pPr>
            <a:r>
              <a:rPr lang="en-US" sz="900" b="0" kern="1200" dirty="0">
                <a:solidFill>
                  <a:schemeClr val="tx1"/>
                </a:solidFill>
                <a:latin typeface="Segoe UI Light" pitchFamily="34" charset="0"/>
                <a:ea typeface="+mn-ea"/>
                <a:cs typeface="+mn-cs"/>
                <a:sym typeface="Wingdings" panose="05000000000000000000" pitchFamily="2" charset="2"/>
              </a:rPr>
              <a:t>12. Show the different option of the query store and also show that there are 2 different query plans for the same query.</a:t>
            </a:r>
          </a:p>
          <a:p>
            <a:pPr marL="0" lvl="0" indent="-117403">
              <a:buNone/>
            </a:pPr>
            <a:endParaRPr lang="nl-BE" sz="900" b="0" kern="1200" dirty="0">
              <a:solidFill>
                <a:schemeClr val="tx1"/>
              </a:solidFill>
              <a:latin typeface="Segoe UI Light" pitchFamily="34" charset="0"/>
              <a:ea typeface="+mn-ea"/>
              <a:cs typeface="+mn-c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7.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2" y="3962402"/>
            <a:ext cx="5943600"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90"/>
            <a:ext cx="2691631" cy="276999"/>
          </a:xfrm>
          <a:solidFill>
            <a:srgbClr val="E6E6E6">
              <a:alpha val="75000"/>
            </a:srgbClr>
          </a:solidFill>
        </p:spPr>
        <p:txBody>
          <a:bodyPr/>
          <a:lstStyle>
            <a:lvl1pPr marL="0" marR="0" indent="0" algn="r" defTabSz="93208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799"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645296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1916"/>
          </a:xfrm>
        </p:spPr>
        <p:txBody>
          <a:bodyPr wrap="square">
            <a:spAutoFit/>
          </a:bodyPr>
          <a:lstStyle>
            <a:lvl1pPr marL="0" indent="0">
              <a:buNone/>
              <a:defRPr/>
            </a:lvl1pPr>
            <a:lvl2pPr marL="228440" indent="0">
              <a:buNone/>
              <a:defRPr/>
            </a:lvl2pPr>
            <a:lvl3pPr marL="456880" indent="0">
              <a:buNone/>
              <a:defRPr/>
            </a:lvl3pPr>
            <a:lvl4pPr marL="685320" indent="0">
              <a:buNone/>
              <a:defRPr/>
            </a:lvl4pPr>
            <a:lvl5pPr marL="91376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0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199"/>
              </a:spcBef>
              <a:defRPr/>
            </a:lvl1pPr>
          </a:lstStyle>
          <a:p>
            <a:r>
              <a:rPr lang="en-US"/>
              <a:t>Click to edit Master title style</a:t>
            </a:r>
          </a:p>
        </p:txBody>
      </p:sp>
      <p:sp>
        <p:nvSpPr>
          <p:cNvPr id="3" name="Text Placeholder 2"/>
          <p:cNvSpPr>
            <a:spLocks noGrp="1"/>
          </p:cNvSpPr>
          <p:nvPr>
            <p:ph type="body" sz="quarter" idx="10"/>
          </p:nvPr>
        </p:nvSpPr>
        <p:spPr>
          <a:xfrm>
            <a:off x="584201" y="1435499"/>
            <a:ext cx="11018520" cy="1519903"/>
          </a:xfrm>
        </p:spPr>
        <p:txBody>
          <a:bodyPr/>
          <a:lstStyle>
            <a:lvl1pPr>
              <a:spcBef>
                <a:spcPts val="999"/>
              </a:spcBef>
              <a:defRPr sz="2200">
                <a:latin typeface="+mn-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70408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156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61859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31928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84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98319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1910815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2179580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2344015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63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882006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0"/>
            <a:ext cx="11018838" cy="16119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2" y="-203944"/>
            <a:ext cx="577457" cy="153760"/>
          </a:xfrm>
          <a:prstGeom prst="rect">
            <a:avLst/>
          </a:prstGeom>
          <a:noFill/>
        </p:spPr>
        <p:txBody>
          <a:bodyPr wrap="none" lIns="0" tIns="0" rIns="0" bIns="0" rtlCol="0">
            <a:spAutoFit/>
          </a:bodyPr>
          <a:lstStyle/>
          <a:p>
            <a:pPr algn="l"/>
            <a:r>
              <a:rPr lang="en-US" sz="999">
                <a:solidFill>
                  <a:srgbClr val="A3A3A3"/>
                </a:solidFill>
              </a:rPr>
              <a:t>ELT layout</a:t>
            </a:r>
          </a:p>
        </p:txBody>
      </p:sp>
    </p:spTree>
    <p:extLst>
      <p:ext uri="{BB962C8B-B14F-4D97-AF65-F5344CB8AC3E}">
        <p14:creationId xmlns:p14="http://schemas.microsoft.com/office/powerpoint/2010/main" val="36123906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51521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212727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416158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7631487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5586722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8/11/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16772961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2626956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67841316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758039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33328454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28515886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416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78240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976526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8291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91540383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999298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47808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15354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3804705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835237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41540478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03814785"/>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15317438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6483630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95727867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207625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7595074"/>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63096969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74298850"/>
      </p:ext>
    </p:extLst>
  </p:cSld>
  <p:clrMapOvr>
    <a:masterClrMapping/>
  </p:clrMapOvr>
  <p:transition>
    <p:fade/>
  </p:transition>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3784277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957488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104492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309986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84913107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87912941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738219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71212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57766604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11014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49502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171007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58449290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159156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2327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07432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83164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904301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00669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40214816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51773362"/>
      </p:ext>
    </p:extLst>
  </p:cSld>
  <p:clrMapOvr>
    <a:masterClrMapping/>
  </p:clrMapOvr>
  <p:transition>
    <p:fade/>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69405196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8/11/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38670669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67592071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785620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35427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1218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7694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571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3730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1188651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59435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344482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616848934"/>
      </p:ext>
    </p:extLst>
  </p:cSld>
  <p:clrMapOvr>
    <a:masterClrMapping/>
  </p:clrMapOvr>
  <p:hf sldNum="0" hdr="0" ftr="0" dt="0"/>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28417152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197815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0069750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theme" Target="../theme/theme2.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image" Target="../media/image5.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8" Type="http://schemas.openxmlformats.org/officeDocument/2006/relationships/slideLayout" Target="../slideLayouts/slideLayout52.xml"/><Relationship Id="rId51" Type="http://schemas.openxmlformats.org/officeDocument/2006/relationships/image" Target="../media/image4.emf"/><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96.xml"/><Relationship Id="rId7" Type="http://schemas.openxmlformats.org/officeDocument/2006/relationships/theme" Target="../theme/theme3.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4" Type="http://schemas.openxmlformats.org/officeDocument/2006/relationships/slideLayout" Target="../slideLayouts/slideLayout97.xml"/><Relationship Id="rId9"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image" Target="../media/image18.emf"/><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theme" Target="../theme/theme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5" Type="http://schemas.openxmlformats.org/officeDocument/2006/relationships/slideLayout" Target="../slideLayouts/slideLayout120.xml"/><Relationship Id="rId10" Type="http://schemas.openxmlformats.org/officeDocument/2006/relationships/theme" Target="../theme/theme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033616890"/>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2" r:id="rId27"/>
    <p:sldLayoutId id="2147484063" r:id="rId28"/>
    <p:sldLayoutId id="2147484064" r:id="rId29"/>
    <p:sldLayoutId id="2147484065" r:id="rId30"/>
    <p:sldLayoutId id="2147484066" r:id="rId31"/>
    <p:sldLayoutId id="2147484067" r:id="rId32"/>
    <p:sldLayoutId id="2147484068" r:id="rId33"/>
    <p:sldLayoutId id="2147484069" r:id="rId34"/>
    <p:sldLayoutId id="2147484070" r:id="rId35"/>
    <p:sldLayoutId id="2147484071" r:id="rId36"/>
    <p:sldLayoutId id="2147484072" r:id="rId37"/>
    <p:sldLayoutId id="2147484073" r:id="rId38"/>
    <p:sldLayoutId id="2147484074" r:id="rId39"/>
    <p:sldLayoutId id="2147484075" r:id="rId40"/>
    <p:sldLayoutId id="2147484076" r:id="rId41"/>
    <p:sldLayoutId id="2147484077" r:id="rId42"/>
    <p:sldLayoutId id="2147484078" r:id="rId43"/>
    <p:sldLayoutId id="2147484079" r:id="rId44"/>
    <p:sldLayoutId id="2147484080" r:id="rId45"/>
    <p:sldLayoutId id="2147484081" r:id="rId46"/>
    <p:sldLayoutId id="2147484082" r:id="rId47"/>
    <p:sldLayoutId id="2147484083" r:id="rId48"/>
    <p:sldLayoutId id="2147484084"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12380514"/>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rot="5400000">
            <a:off x="9288988"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3840935"/>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Lst>
  <p:transition>
    <p:fade/>
  </p:transition>
  <p:hf sldNum="0" hdr="0" ftr="0" dt="0"/>
  <p:txStyles>
    <p:titleStyle>
      <a:lvl1pPr algn="l" defTabSz="932089" rtl="0" eaLnBrk="1" latinLnBrk="0" hangingPunct="1">
        <a:lnSpc>
          <a:spcPct val="100000"/>
        </a:lnSpc>
        <a:spcBef>
          <a:spcPct val="0"/>
        </a:spcBef>
        <a:spcAft>
          <a:spcPts val="1199"/>
        </a:spcAft>
        <a:buNone/>
        <a:defRPr lang="en-US" sz="3597"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44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8"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88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6765" marR="0" indent="-199885"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9" kern="1200" spc="0" baseline="0">
          <a:gradFill>
            <a:gsLst>
              <a:gs pos="1250">
                <a:schemeClr val="tx1"/>
              </a:gs>
              <a:gs pos="100000">
                <a:schemeClr val="tx1"/>
              </a:gs>
            </a:gsLst>
            <a:lin ang="5400000" scaled="0"/>
          </a:gradFill>
          <a:latin typeface="+mn-lt"/>
          <a:ea typeface="+mn-ea"/>
          <a:cs typeface="+mn-cs"/>
        </a:defRPr>
      </a:lvl3pPr>
      <a:lvl4pPr marL="842373" marR="0" indent="-180848"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23221" marR="0" indent="-168157"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563244"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29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335"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38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089" rtl="0" eaLnBrk="1" latinLnBrk="0" hangingPunct="1">
        <a:defRPr sz="1799" kern="1200">
          <a:solidFill>
            <a:schemeClr val="tx1"/>
          </a:solidFill>
          <a:latin typeface="+mn-lt"/>
          <a:ea typeface="+mn-ea"/>
          <a:cs typeface="+mn-cs"/>
        </a:defRPr>
      </a:lvl1pPr>
      <a:lvl2pPr marL="466045" algn="l" defTabSz="932089" rtl="0" eaLnBrk="1" latinLnBrk="0" hangingPunct="1">
        <a:defRPr sz="1799" kern="1200">
          <a:solidFill>
            <a:schemeClr val="tx1"/>
          </a:solidFill>
          <a:latin typeface="+mn-lt"/>
          <a:ea typeface="+mn-ea"/>
          <a:cs typeface="+mn-cs"/>
        </a:defRPr>
      </a:lvl2pPr>
      <a:lvl3pPr marL="932089" algn="l" defTabSz="932089" rtl="0" eaLnBrk="1" latinLnBrk="0" hangingPunct="1">
        <a:defRPr sz="1799" kern="1200">
          <a:solidFill>
            <a:schemeClr val="tx1"/>
          </a:solidFill>
          <a:latin typeface="+mn-lt"/>
          <a:ea typeface="+mn-ea"/>
          <a:cs typeface="+mn-cs"/>
        </a:defRPr>
      </a:lvl3pPr>
      <a:lvl4pPr marL="1398134" algn="l" defTabSz="932089" rtl="0" eaLnBrk="1" latinLnBrk="0" hangingPunct="1">
        <a:defRPr sz="1799" kern="1200">
          <a:solidFill>
            <a:schemeClr val="tx1"/>
          </a:solidFill>
          <a:latin typeface="+mn-lt"/>
          <a:ea typeface="+mn-ea"/>
          <a:cs typeface="+mn-cs"/>
        </a:defRPr>
      </a:lvl4pPr>
      <a:lvl5pPr marL="1864178" algn="l" defTabSz="932089" rtl="0" eaLnBrk="1" latinLnBrk="0" hangingPunct="1">
        <a:defRPr sz="1799" kern="1200">
          <a:solidFill>
            <a:schemeClr val="tx1"/>
          </a:solidFill>
          <a:latin typeface="+mn-lt"/>
          <a:ea typeface="+mn-ea"/>
          <a:cs typeface="+mn-cs"/>
        </a:defRPr>
      </a:lvl5pPr>
      <a:lvl6pPr marL="2330224" algn="l" defTabSz="932089" rtl="0" eaLnBrk="1" latinLnBrk="0" hangingPunct="1">
        <a:defRPr sz="1799" kern="1200">
          <a:solidFill>
            <a:schemeClr val="tx1"/>
          </a:solidFill>
          <a:latin typeface="+mn-lt"/>
          <a:ea typeface="+mn-ea"/>
          <a:cs typeface="+mn-cs"/>
        </a:defRPr>
      </a:lvl6pPr>
      <a:lvl7pPr marL="2796267" algn="l" defTabSz="932089" rtl="0" eaLnBrk="1" latinLnBrk="0" hangingPunct="1">
        <a:defRPr sz="1799" kern="1200">
          <a:solidFill>
            <a:schemeClr val="tx1"/>
          </a:solidFill>
          <a:latin typeface="+mn-lt"/>
          <a:ea typeface="+mn-ea"/>
          <a:cs typeface="+mn-cs"/>
        </a:defRPr>
      </a:lvl7pPr>
      <a:lvl8pPr marL="3262312" algn="l" defTabSz="932089" rtl="0" eaLnBrk="1" latinLnBrk="0" hangingPunct="1">
        <a:defRPr sz="1799" kern="1200">
          <a:solidFill>
            <a:schemeClr val="tx1"/>
          </a:solidFill>
          <a:latin typeface="+mn-lt"/>
          <a:ea typeface="+mn-ea"/>
          <a:cs typeface="+mn-cs"/>
        </a:defRPr>
      </a:lvl8pPr>
      <a:lvl9pPr marL="3728357" algn="l" defTabSz="932089"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1702273"/>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xml"/><Relationship Id="rId1" Type="http://schemas.openxmlformats.org/officeDocument/2006/relationships/tags" Target="../tags/tag11.xml"/><Relationship Id="rId4" Type="http://schemas.openxmlformats.org/officeDocument/2006/relationships/image" Target="../media/image29.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0.jpe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customXml" Target="../../customXml/item45.xml"/><Relationship Id="rId7" Type="http://schemas.openxmlformats.org/officeDocument/2006/relationships/image" Target="../media/image20.png"/><Relationship Id="rId2" Type="http://schemas.openxmlformats.org/officeDocument/2006/relationships/customXml" Target="../../customXml/item44.xml"/><Relationship Id="rId1" Type="http://schemas.openxmlformats.org/officeDocument/2006/relationships/tags" Target="../tags/tag14.xml"/><Relationship Id="rId6" Type="http://schemas.openxmlformats.org/officeDocument/2006/relationships/notesSlide" Target="../notesSlides/notesSlide12.xml"/><Relationship Id="rId5" Type="http://schemas.openxmlformats.org/officeDocument/2006/relationships/slideLayout" Target="../slideLayouts/slideLayout9.xml"/><Relationship Id="rId4"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hyperlink" Target="https://docs.microsoft.com/en-us/azure/sql-database/sql-database-advisor"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Layout" Target="../diagrams/layout6.xml"/><Relationship Id="rId7" Type="http://schemas.openxmlformats.org/officeDocument/2006/relationships/image" Target="../media/image32.png"/><Relationship Id="rId2" Type="http://schemas.openxmlformats.org/officeDocument/2006/relationships/diagramData" Target="../diagrams/data6.xml"/><Relationship Id="rId1" Type="http://schemas.openxmlformats.org/officeDocument/2006/relationships/slideLayout" Target="../slideLayouts/slideLayout8.xml"/><Relationship Id="rId6" Type="http://schemas.microsoft.com/office/2007/relationships/diagramDrawing" Target="../diagrams/drawing6.xml"/><Relationship Id="rId5" Type="http://schemas.openxmlformats.org/officeDocument/2006/relationships/diagramColors" Target="../diagrams/colors6.xml"/><Relationship Id="rId10" Type="http://schemas.openxmlformats.org/officeDocument/2006/relationships/hyperlink" Target="http://automaticplancorrectiondemo.azurewebsites.net/index.html" TargetMode="External"/><Relationship Id="rId4" Type="http://schemas.openxmlformats.org/officeDocument/2006/relationships/diagramQuickStyle" Target="../diagrams/quickStyle6.xml"/><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0.jpeg"/><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customXml" Target="../../customXml/item19.xml"/><Relationship Id="rId1" Type="http://schemas.openxmlformats.org/officeDocument/2006/relationships/tags" Target="../tags/tag5.xml"/><Relationship Id="rId5" Type="http://schemas.openxmlformats.org/officeDocument/2006/relationships/notesSlide" Target="../notesSlides/notesSlide1.xml"/><Relationship Id="rId4"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9.xml"/><Relationship Id="rId1" Type="http://schemas.openxmlformats.org/officeDocument/2006/relationships/slideLayout" Target="../slideLayouts/slideLayout9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120.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1.xml"/><Relationship Id="rId1" Type="http://schemas.openxmlformats.org/officeDocument/2006/relationships/slideLayout" Target="../slideLayouts/slideLayout12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4.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2.xml"/><Relationship Id="rId1" Type="http://schemas.openxmlformats.org/officeDocument/2006/relationships/slideLayout" Target="../slideLayouts/slideLayout12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120.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4.xml"/><Relationship Id="rId1" Type="http://schemas.openxmlformats.org/officeDocument/2006/relationships/slideLayout" Target="../slideLayouts/slideLayout120.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120.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7.xml"/><Relationship Id="rId1" Type="http://schemas.openxmlformats.org/officeDocument/2006/relationships/slideLayout" Target="../slideLayouts/slideLayout120.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8.xml"/><Relationship Id="rId1" Type="http://schemas.openxmlformats.org/officeDocument/2006/relationships/slideLayout" Target="../slideLayouts/slideLayout120.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9.xml"/><Relationship Id="rId1" Type="http://schemas.openxmlformats.org/officeDocument/2006/relationships/slideLayout" Target="../slideLayouts/slideLayout120.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0.xml"/><Relationship Id="rId1" Type="http://schemas.openxmlformats.org/officeDocument/2006/relationships/slideLayout" Target="../slideLayouts/slideLayout120.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 Id="rId9"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1.xml"/><Relationship Id="rId1" Type="http://schemas.openxmlformats.org/officeDocument/2006/relationships/slideLayout" Target="../slideLayouts/slideLayout120.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3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2.xml"/><Relationship Id="rId1" Type="http://schemas.openxmlformats.org/officeDocument/2006/relationships/slideLayout" Target="../slideLayouts/slideLayout120.xml"/><Relationship Id="rId6" Type="http://schemas.openxmlformats.org/officeDocument/2006/relationships/diagramColors" Target="../diagrams/colors20.xml"/><Relationship Id="rId5" Type="http://schemas.openxmlformats.org/officeDocument/2006/relationships/diagramQuickStyle" Target="../diagrams/quickStyle20.xml"/><Relationship Id="rId10" Type="http://schemas.openxmlformats.org/officeDocument/2006/relationships/image" Target="../media/image43.png"/><Relationship Id="rId4" Type="http://schemas.openxmlformats.org/officeDocument/2006/relationships/diagramLayout" Target="../diagrams/layout20.xml"/><Relationship Id="rId9" Type="http://schemas.openxmlformats.org/officeDocument/2006/relationships/image" Target="../media/image42.png"/></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33.xml"/><Relationship Id="rId1" Type="http://schemas.openxmlformats.org/officeDocument/2006/relationships/slideLayout" Target="../slideLayouts/slideLayout120.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3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34.xml"/><Relationship Id="rId1" Type="http://schemas.openxmlformats.org/officeDocument/2006/relationships/slideLayout" Target="../slideLayouts/slideLayout120.xml"/><Relationship Id="rId6" Type="http://schemas.openxmlformats.org/officeDocument/2006/relationships/diagramColors" Target="../diagrams/colors22.xml"/><Relationship Id="rId11" Type="http://schemas.openxmlformats.org/officeDocument/2006/relationships/image" Target="../media/image47.png"/><Relationship Id="rId5" Type="http://schemas.openxmlformats.org/officeDocument/2006/relationships/diagramQuickStyle" Target="../diagrams/quickStyle22.xml"/><Relationship Id="rId10" Type="http://schemas.openxmlformats.org/officeDocument/2006/relationships/image" Target="../media/image46.png"/><Relationship Id="rId4" Type="http://schemas.openxmlformats.org/officeDocument/2006/relationships/diagramLayout" Target="../diagrams/layout22.xml"/><Relationship Id="rId9"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35.xml"/><Relationship Id="rId1" Type="http://schemas.openxmlformats.org/officeDocument/2006/relationships/slideLayout" Target="../slideLayouts/slideLayout120.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36.xml"/><Relationship Id="rId1" Type="http://schemas.openxmlformats.org/officeDocument/2006/relationships/slideLayout" Target="../slideLayouts/slideLayout120.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 Id="rId9" Type="http://schemas.openxmlformats.org/officeDocument/2006/relationships/image" Target="../media/image49.pn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37.xml"/><Relationship Id="rId1" Type="http://schemas.openxmlformats.org/officeDocument/2006/relationships/slideLayout" Target="../slideLayouts/slideLayout120.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20.png"/><Relationship Id="rId2" Type="http://schemas.openxmlformats.org/officeDocument/2006/relationships/customXml" Target="../../customXml/item5.xml"/><Relationship Id="rId1" Type="http://schemas.openxmlformats.org/officeDocument/2006/relationships/tags" Target="../tags/tag7.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8.xml"/></Relationships>
</file>

<file path=ppt/slides/_rels/slide40.xml.rels><?xml version="1.0" encoding="UTF-8" standalone="yes"?>
<Relationships xmlns="http://schemas.openxmlformats.org/package/2006/relationships"><Relationship Id="rId8" Type="http://schemas.openxmlformats.org/officeDocument/2006/relationships/diagramData" Target="../diagrams/data27.xml"/><Relationship Id="rId13" Type="http://schemas.openxmlformats.org/officeDocument/2006/relationships/diagramData" Target="../diagrams/data28.xml"/><Relationship Id="rId3" Type="http://schemas.openxmlformats.org/officeDocument/2006/relationships/diagramData" Target="../diagrams/data26.xml"/><Relationship Id="rId7" Type="http://schemas.microsoft.com/office/2007/relationships/diagramDrawing" Target="../diagrams/drawing26.xml"/><Relationship Id="rId12" Type="http://schemas.microsoft.com/office/2007/relationships/diagramDrawing" Target="../diagrams/drawing27.xml"/><Relationship Id="rId17" Type="http://schemas.microsoft.com/office/2007/relationships/diagramDrawing" Target="../diagrams/drawing28.xml"/><Relationship Id="rId2" Type="http://schemas.openxmlformats.org/officeDocument/2006/relationships/notesSlide" Target="../notesSlides/notesSlide38.xml"/><Relationship Id="rId16" Type="http://schemas.openxmlformats.org/officeDocument/2006/relationships/diagramColors" Target="../diagrams/colors28.xml"/><Relationship Id="rId1" Type="http://schemas.openxmlformats.org/officeDocument/2006/relationships/slideLayout" Target="../slideLayouts/slideLayout120.xml"/><Relationship Id="rId6" Type="http://schemas.openxmlformats.org/officeDocument/2006/relationships/diagramColors" Target="../diagrams/colors26.xml"/><Relationship Id="rId11" Type="http://schemas.openxmlformats.org/officeDocument/2006/relationships/diagramColors" Target="../diagrams/colors27.xml"/><Relationship Id="rId5" Type="http://schemas.openxmlformats.org/officeDocument/2006/relationships/diagramQuickStyle" Target="../diagrams/quickStyle26.xml"/><Relationship Id="rId15" Type="http://schemas.openxmlformats.org/officeDocument/2006/relationships/diagramQuickStyle" Target="../diagrams/quickStyle28.xml"/><Relationship Id="rId10" Type="http://schemas.openxmlformats.org/officeDocument/2006/relationships/diagramQuickStyle" Target="../diagrams/quickStyle27.xml"/><Relationship Id="rId4" Type="http://schemas.openxmlformats.org/officeDocument/2006/relationships/diagramLayout" Target="../diagrams/layout26.xml"/><Relationship Id="rId9" Type="http://schemas.openxmlformats.org/officeDocument/2006/relationships/diagramLayout" Target="../diagrams/layout27.xml"/><Relationship Id="rId14" Type="http://schemas.openxmlformats.org/officeDocument/2006/relationships/diagramLayout" Target="../diagrams/layout28.xml"/></Relationships>
</file>

<file path=ppt/slides/_rels/slide41.xml.rels><?xml version="1.0" encoding="UTF-8" standalone="yes"?>
<Relationships xmlns="http://schemas.openxmlformats.org/package/2006/relationships"><Relationship Id="rId8" Type="http://schemas.openxmlformats.org/officeDocument/2006/relationships/diagramData" Target="../diagrams/data30.xml"/><Relationship Id="rId13" Type="http://schemas.openxmlformats.org/officeDocument/2006/relationships/image" Target="../media/image50.png"/><Relationship Id="rId3" Type="http://schemas.openxmlformats.org/officeDocument/2006/relationships/diagramData" Target="../diagrams/data29.xml"/><Relationship Id="rId7" Type="http://schemas.microsoft.com/office/2007/relationships/diagramDrawing" Target="../diagrams/drawing29.xml"/><Relationship Id="rId12" Type="http://schemas.microsoft.com/office/2007/relationships/diagramDrawing" Target="../diagrams/drawing30.xml"/><Relationship Id="rId2" Type="http://schemas.openxmlformats.org/officeDocument/2006/relationships/notesSlide" Target="../notesSlides/notesSlide39.xml"/><Relationship Id="rId1" Type="http://schemas.openxmlformats.org/officeDocument/2006/relationships/slideLayout" Target="../slideLayouts/slideLayout120.xml"/><Relationship Id="rId6" Type="http://schemas.openxmlformats.org/officeDocument/2006/relationships/diagramColors" Target="../diagrams/colors29.xml"/><Relationship Id="rId11" Type="http://schemas.openxmlformats.org/officeDocument/2006/relationships/diagramColors" Target="../diagrams/colors30.xml"/><Relationship Id="rId5" Type="http://schemas.openxmlformats.org/officeDocument/2006/relationships/diagramQuickStyle" Target="../diagrams/quickStyle29.xml"/><Relationship Id="rId10" Type="http://schemas.openxmlformats.org/officeDocument/2006/relationships/diagramQuickStyle" Target="../diagrams/quickStyle30.xml"/><Relationship Id="rId4" Type="http://schemas.openxmlformats.org/officeDocument/2006/relationships/diagramLayout" Target="../diagrams/layout29.xml"/><Relationship Id="rId9" Type="http://schemas.openxmlformats.org/officeDocument/2006/relationships/diagramLayout" Target="../diagrams/layout30.xml"/><Relationship Id="rId14" Type="http://schemas.openxmlformats.org/officeDocument/2006/relationships/image" Target="../media/image51.png"/></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0.xml"/><Relationship Id="rId1" Type="http://schemas.openxmlformats.org/officeDocument/2006/relationships/slideLayout" Target="../slideLayouts/slideLayout120.xml"/><Relationship Id="rId5" Type="http://schemas.openxmlformats.org/officeDocument/2006/relationships/image" Target="../media/image53.png"/><Relationship Id="rId4" Type="http://schemas.openxmlformats.org/officeDocument/2006/relationships/image" Target="../media/image52.pn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41.xml"/><Relationship Id="rId1" Type="http://schemas.openxmlformats.org/officeDocument/2006/relationships/slideLayout" Target="../slideLayouts/slideLayout120.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44.xml.rels><?xml version="1.0" encoding="UTF-8" standalone="yes"?>
<Relationships xmlns="http://schemas.openxmlformats.org/package/2006/relationships"><Relationship Id="rId8" Type="http://schemas.openxmlformats.org/officeDocument/2006/relationships/diagramData" Target="../diagrams/data33.xml"/><Relationship Id="rId13" Type="http://schemas.openxmlformats.org/officeDocument/2006/relationships/diagramData" Target="../diagrams/data34.xml"/><Relationship Id="rId3" Type="http://schemas.openxmlformats.org/officeDocument/2006/relationships/diagramData" Target="../diagrams/data32.xml"/><Relationship Id="rId7" Type="http://schemas.microsoft.com/office/2007/relationships/diagramDrawing" Target="../diagrams/drawing32.xml"/><Relationship Id="rId12" Type="http://schemas.microsoft.com/office/2007/relationships/diagramDrawing" Target="../diagrams/drawing33.xml"/><Relationship Id="rId17" Type="http://schemas.microsoft.com/office/2007/relationships/diagramDrawing" Target="../diagrams/drawing34.xml"/><Relationship Id="rId2" Type="http://schemas.openxmlformats.org/officeDocument/2006/relationships/notesSlide" Target="../notesSlides/notesSlide42.xml"/><Relationship Id="rId16" Type="http://schemas.openxmlformats.org/officeDocument/2006/relationships/diagramColors" Target="../diagrams/colors34.xml"/><Relationship Id="rId1" Type="http://schemas.openxmlformats.org/officeDocument/2006/relationships/slideLayout" Target="../slideLayouts/slideLayout120.xml"/><Relationship Id="rId6" Type="http://schemas.openxmlformats.org/officeDocument/2006/relationships/diagramColors" Target="../diagrams/colors32.xml"/><Relationship Id="rId11" Type="http://schemas.openxmlformats.org/officeDocument/2006/relationships/diagramColors" Target="../diagrams/colors33.xml"/><Relationship Id="rId5" Type="http://schemas.openxmlformats.org/officeDocument/2006/relationships/diagramQuickStyle" Target="../diagrams/quickStyle32.xml"/><Relationship Id="rId15" Type="http://schemas.openxmlformats.org/officeDocument/2006/relationships/diagramQuickStyle" Target="../diagrams/quickStyle34.xml"/><Relationship Id="rId10" Type="http://schemas.openxmlformats.org/officeDocument/2006/relationships/diagramQuickStyle" Target="../diagrams/quickStyle33.xml"/><Relationship Id="rId4" Type="http://schemas.openxmlformats.org/officeDocument/2006/relationships/diagramLayout" Target="../diagrams/layout32.xml"/><Relationship Id="rId9" Type="http://schemas.openxmlformats.org/officeDocument/2006/relationships/diagramLayout" Target="../diagrams/layout33.xml"/><Relationship Id="rId14" Type="http://schemas.openxmlformats.org/officeDocument/2006/relationships/diagramLayout" Target="../diagrams/layout34.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43.xml"/><Relationship Id="rId1" Type="http://schemas.openxmlformats.org/officeDocument/2006/relationships/slideLayout" Target="../slideLayouts/slideLayout120.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46.xml.rels><?xml version="1.0" encoding="UTF-8" standalone="yes"?>
<Relationships xmlns="http://schemas.openxmlformats.org/package/2006/relationships"><Relationship Id="rId8" Type="http://schemas.openxmlformats.org/officeDocument/2006/relationships/diagramData" Target="../diagrams/data37.xml"/><Relationship Id="rId13" Type="http://schemas.openxmlformats.org/officeDocument/2006/relationships/diagramData" Target="../diagrams/data38.xml"/><Relationship Id="rId3" Type="http://schemas.openxmlformats.org/officeDocument/2006/relationships/diagramData" Target="../diagrams/data36.xml"/><Relationship Id="rId7" Type="http://schemas.microsoft.com/office/2007/relationships/diagramDrawing" Target="../diagrams/drawing36.xml"/><Relationship Id="rId12" Type="http://schemas.microsoft.com/office/2007/relationships/diagramDrawing" Target="../diagrams/drawing37.xml"/><Relationship Id="rId17" Type="http://schemas.microsoft.com/office/2007/relationships/diagramDrawing" Target="../diagrams/drawing38.xml"/><Relationship Id="rId2" Type="http://schemas.openxmlformats.org/officeDocument/2006/relationships/notesSlide" Target="../notesSlides/notesSlide44.xml"/><Relationship Id="rId16" Type="http://schemas.openxmlformats.org/officeDocument/2006/relationships/diagramColors" Target="../diagrams/colors38.xml"/><Relationship Id="rId1" Type="http://schemas.openxmlformats.org/officeDocument/2006/relationships/slideLayout" Target="../slideLayouts/slideLayout120.xml"/><Relationship Id="rId6" Type="http://schemas.openxmlformats.org/officeDocument/2006/relationships/diagramColors" Target="../diagrams/colors36.xml"/><Relationship Id="rId11" Type="http://schemas.openxmlformats.org/officeDocument/2006/relationships/diagramColors" Target="../diagrams/colors37.xml"/><Relationship Id="rId5" Type="http://schemas.openxmlformats.org/officeDocument/2006/relationships/diagramQuickStyle" Target="../diagrams/quickStyle36.xml"/><Relationship Id="rId15" Type="http://schemas.openxmlformats.org/officeDocument/2006/relationships/diagramQuickStyle" Target="../diagrams/quickStyle38.xml"/><Relationship Id="rId10" Type="http://schemas.openxmlformats.org/officeDocument/2006/relationships/diagramQuickStyle" Target="../diagrams/quickStyle37.xml"/><Relationship Id="rId4" Type="http://schemas.openxmlformats.org/officeDocument/2006/relationships/diagramLayout" Target="../diagrams/layout36.xml"/><Relationship Id="rId9" Type="http://schemas.openxmlformats.org/officeDocument/2006/relationships/diagramLayout" Target="../diagrams/layout37.xml"/><Relationship Id="rId14" Type="http://schemas.openxmlformats.org/officeDocument/2006/relationships/diagramLayout" Target="../diagrams/layout38.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39.xml"/><Relationship Id="rId7" Type="http://schemas.microsoft.com/office/2007/relationships/diagramDrawing" Target="../diagrams/drawing39.xml"/><Relationship Id="rId2" Type="http://schemas.openxmlformats.org/officeDocument/2006/relationships/notesSlide" Target="../notesSlides/notesSlide45.xml"/><Relationship Id="rId1" Type="http://schemas.openxmlformats.org/officeDocument/2006/relationships/slideLayout" Target="../slideLayouts/slideLayout120.xml"/><Relationship Id="rId6" Type="http://schemas.openxmlformats.org/officeDocument/2006/relationships/diagramColors" Target="../diagrams/colors39.xml"/><Relationship Id="rId5" Type="http://schemas.openxmlformats.org/officeDocument/2006/relationships/diagramQuickStyle" Target="../diagrams/quickStyle39.xml"/><Relationship Id="rId4" Type="http://schemas.openxmlformats.org/officeDocument/2006/relationships/diagramLayout" Target="../diagrams/layout39.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46.xml"/><Relationship Id="rId1" Type="http://schemas.openxmlformats.org/officeDocument/2006/relationships/slideLayout" Target="../slideLayouts/slideLayout120.xml"/><Relationship Id="rId6" Type="http://schemas.openxmlformats.org/officeDocument/2006/relationships/diagramColors" Target="../diagrams/colors40.xml"/><Relationship Id="rId5" Type="http://schemas.openxmlformats.org/officeDocument/2006/relationships/diagramQuickStyle" Target="../diagrams/quickStyle40.xml"/><Relationship Id="rId4" Type="http://schemas.openxmlformats.org/officeDocument/2006/relationships/diagramLayout" Target="../diagrams/layout40.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41.xml"/><Relationship Id="rId7" Type="http://schemas.microsoft.com/office/2007/relationships/diagramDrawing" Target="../diagrams/drawing41.xml"/><Relationship Id="rId2" Type="http://schemas.openxmlformats.org/officeDocument/2006/relationships/notesSlide" Target="../notesSlides/notesSlide47.xml"/><Relationship Id="rId1" Type="http://schemas.openxmlformats.org/officeDocument/2006/relationships/slideLayout" Target="../slideLayouts/slideLayout120.xml"/><Relationship Id="rId6" Type="http://schemas.openxmlformats.org/officeDocument/2006/relationships/diagramColors" Target="../diagrams/colors41.xml"/><Relationship Id="rId5" Type="http://schemas.openxmlformats.org/officeDocument/2006/relationships/diagramQuickStyle" Target="../diagrams/quickStyle41.xml"/><Relationship Id="rId4" Type="http://schemas.openxmlformats.org/officeDocument/2006/relationships/diagramLayout" Target="../diagrams/layout41.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43.xml"/><Relationship Id="rId7" Type="http://schemas.openxmlformats.org/officeDocument/2006/relationships/image" Target="../media/image20.png"/><Relationship Id="rId2" Type="http://schemas.openxmlformats.org/officeDocument/2006/relationships/customXml" Target="../../customXml/item42.xml"/><Relationship Id="rId1" Type="http://schemas.openxmlformats.org/officeDocument/2006/relationships/tags" Target="../tags/tag9.xml"/><Relationship Id="rId6" Type="http://schemas.openxmlformats.org/officeDocument/2006/relationships/notesSlide" Target="../notesSlides/notesSlide4.xml"/><Relationship Id="rId5" Type="http://schemas.openxmlformats.org/officeDocument/2006/relationships/slideLayout" Target="../slideLayouts/slideLayout9.xml"/><Relationship Id="rId4" Type="http://schemas.openxmlformats.org/officeDocument/2006/relationships/tags" Target="../tags/tag10.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42.xml"/><Relationship Id="rId7" Type="http://schemas.microsoft.com/office/2007/relationships/diagramDrawing" Target="../diagrams/drawing42.xml"/><Relationship Id="rId2" Type="http://schemas.openxmlformats.org/officeDocument/2006/relationships/notesSlide" Target="../notesSlides/notesSlide48.xml"/><Relationship Id="rId1" Type="http://schemas.openxmlformats.org/officeDocument/2006/relationships/slideLayout" Target="../slideLayouts/slideLayout120.xml"/><Relationship Id="rId6" Type="http://schemas.openxmlformats.org/officeDocument/2006/relationships/diagramColors" Target="../diagrams/colors42.xml"/><Relationship Id="rId5" Type="http://schemas.openxmlformats.org/officeDocument/2006/relationships/diagramQuickStyle" Target="../diagrams/quickStyle42.xml"/><Relationship Id="rId4" Type="http://schemas.openxmlformats.org/officeDocument/2006/relationships/diagramLayout" Target="../diagrams/layout42.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notesSlide" Target="../notesSlides/notesSlide49.xml"/><Relationship Id="rId1" Type="http://schemas.openxmlformats.org/officeDocument/2006/relationships/slideLayout" Target="../slideLayouts/slideLayout120.xml"/><Relationship Id="rId6" Type="http://schemas.openxmlformats.org/officeDocument/2006/relationships/diagramColors" Target="../diagrams/colors43.xml"/><Relationship Id="rId5" Type="http://schemas.openxmlformats.org/officeDocument/2006/relationships/diagramQuickStyle" Target="../diagrams/quickStyle43.xml"/><Relationship Id="rId4" Type="http://schemas.openxmlformats.org/officeDocument/2006/relationships/diagramLayout" Target="../diagrams/layout43.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44.xml"/><Relationship Id="rId7" Type="http://schemas.microsoft.com/office/2007/relationships/diagramDrawing" Target="../diagrams/drawing44.xml"/><Relationship Id="rId2" Type="http://schemas.openxmlformats.org/officeDocument/2006/relationships/notesSlide" Target="../notesSlides/notesSlide50.xml"/><Relationship Id="rId1" Type="http://schemas.openxmlformats.org/officeDocument/2006/relationships/slideLayout" Target="../slideLayouts/slideLayout120.xml"/><Relationship Id="rId6" Type="http://schemas.openxmlformats.org/officeDocument/2006/relationships/diagramColors" Target="../diagrams/colors44.xml"/><Relationship Id="rId5" Type="http://schemas.openxmlformats.org/officeDocument/2006/relationships/diagramQuickStyle" Target="../diagrams/quickStyle44.xml"/><Relationship Id="rId4" Type="http://schemas.openxmlformats.org/officeDocument/2006/relationships/diagramLayout" Target="../diagrams/layout44.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45.xml"/><Relationship Id="rId7" Type="http://schemas.microsoft.com/office/2007/relationships/diagramDrawing" Target="../diagrams/drawing45.xml"/><Relationship Id="rId2" Type="http://schemas.openxmlformats.org/officeDocument/2006/relationships/notesSlide" Target="../notesSlides/notesSlide51.xml"/><Relationship Id="rId1" Type="http://schemas.openxmlformats.org/officeDocument/2006/relationships/slideLayout" Target="../slideLayouts/slideLayout120.xml"/><Relationship Id="rId6" Type="http://schemas.openxmlformats.org/officeDocument/2006/relationships/diagramColors" Target="../diagrams/colors45.xml"/><Relationship Id="rId5" Type="http://schemas.openxmlformats.org/officeDocument/2006/relationships/diagramQuickStyle" Target="../diagrams/quickStyle45.xml"/><Relationship Id="rId4" Type="http://schemas.openxmlformats.org/officeDocument/2006/relationships/diagramLayout" Target="../diagrams/layout45.xml"/></Relationships>
</file>

<file path=ppt/slides/_rels/slide54.xml.rels><?xml version="1.0" encoding="UTF-8" standalone="yes"?>
<Relationships xmlns="http://schemas.openxmlformats.org/package/2006/relationships"><Relationship Id="rId8" Type="http://schemas.openxmlformats.org/officeDocument/2006/relationships/diagramData" Target="../diagrams/data47.xml"/><Relationship Id="rId3" Type="http://schemas.openxmlformats.org/officeDocument/2006/relationships/diagramData" Target="../diagrams/data46.xml"/><Relationship Id="rId7" Type="http://schemas.microsoft.com/office/2007/relationships/diagramDrawing" Target="../diagrams/drawing46.xml"/><Relationship Id="rId12" Type="http://schemas.microsoft.com/office/2007/relationships/diagramDrawing" Target="../diagrams/drawing47.xml"/><Relationship Id="rId2" Type="http://schemas.openxmlformats.org/officeDocument/2006/relationships/notesSlide" Target="../notesSlides/notesSlide52.xml"/><Relationship Id="rId1" Type="http://schemas.openxmlformats.org/officeDocument/2006/relationships/slideLayout" Target="../slideLayouts/slideLayout120.xml"/><Relationship Id="rId6" Type="http://schemas.openxmlformats.org/officeDocument/2006/relationships/diagramColors" Target="../diagrams/colors46.xml"/><Relationship Id="rId11" Type="http://schemas.openxmlformats.org/officeDocument/2006/relationships/diagramColors" Target="../diagrams/colors47.xml"/><Relationship Id="rId5" Type="http://schemas.openxmlformats.org/officeDocument/2006/relationships/diagramQuickStyle" Target="../diagrams/quickStyle46.xml"/><Relationship Id="rId10" Type="http://schemas.openxmlformats.org/officeDocument/2006/relationships/diagramQuickStyle" Target="../diagrams/quickStyle47.xml"/><Relationship Id="rId4" Type="http://schemas.openxmlformats.org/officeDocument/2006/relationships/diagramLayout" Target="../diagrams/layout46.xml"/><Relationship Id="rId9" Type="http://schemas.openxmlformats.org/officeDocument/2006/relationships/diagramLayout" Target="../diagrams/layout47.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48.xml"/><Relationship Id="rId7" Type="http://schemas.microsoft.com/office/2007/relationships/diagramDrawing" Target="../diagrams/drawing48.xml"/><Relationship Id="rId2" Type="http://schemas.openxmlformats.org/officeDocument/2006/relationships/notesSlide" Target="../notesSlides/notesSlide53.xml"/><Relationship Id="rId1" Type="http://schemas.openxmlformats.org/officeDocument/2006/relationships/slideLayout" Target="../slideLayouts/slideLayout120.xml"/><Relationship Id="rId6" Type="http://schemas.openxmlformats.org/officeDocument/2006/relationships/diagramColors" Target="../diagrams/colors48.xml"/><Relationship Id="rId5" Type="http://schemas.openxmlformats.org/officeDocument/2006/relationships/diagramQuickStyle" Target="../diagrams/quickStyle48.xml"/><Relationship Id="rId4" Type="http://schemas.openxmlformats.org/officeDocument/2006/relationships/diagramLayout" Target="../diagrams/layout48.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49.xml"/><Relationship Id="rId7" Type="http://schemas.microsoft.com/office/2007/relationships/diagramDrawing" Target="../diagrams/drawing49.xml"/><Relationship Id="rId2" Type="http://schemas.openxmlformats.org/officeDocument/2006/relationships/notesSlide" Target="../notesSlides/notesSlide54.xml"/><Relationship Id="rId1" Type="http://schemas.openxmlformats.org/officeDocument/2006/relationships/slideLayout" Target="../slideLayouts/slideLayout120.xml"/><Relationship Id="rId6" Type="http://schemas.openxmlformats.org/officeDocument/2006/relationships/diagramColors" Target="../diagrams/colors49.xml"/><Relationship Id="rId5" Type="http://schemas.openxmlformats.org/officeDocument/2006/relationships/diagramQuickStyle" Target="../diagrams/quickStyle49.xml"/><Relationship Id="rId4" Type="http://schemas.openxmlformats.org/officeDocument/2006/relationships/diagramLayout" Target="../diagrams/layout49.xml"/></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51.xml"/><Relationship Id="rId13" Type="http://schemas.openxmlformats.org/officeDocument/2006/relationships/diagramData" Target="../diagrams/data52.xml"/><Relationship Id="rId18" Type="http://schemas.openxmlformats.org/officeDocument/2006/relationships/diagramData" Target="../diagrams/data53.xml"/><Relationship Id="rId3" Type="http://schemas.openxmlformats.org/officeDocument/2006/relationships/diagramData" Target="../diagrams/data50.xml"/><Relationship Id="rId21" Type="http://schemas.openxmlformats.org/officeDocument/2006/relationships/diagramColors" Target="../diagrams/colors53.xml"/><Relationship Id="rId7" Type="http://schemas.microsoft.com/office/2007/relationships/diagramDrawing" Target="../diagrams/drawing50.xml"/><Relationship Id="rId12" Type="http://schemas.microsoft.com/office/2007/relationships/diagramDrawing" Target="../diagrams/drawing51.xml"/><Relationship Id="rId17" Type="http://schemas.microsoft.com/office/2007/relationships/diagramDrawing" Target="../diagrams/drawing52.xml"/><Relationship Id="rId2" Type="http://schemas.openxmlformats.org/officeDocument/2006/relationships/notesSlide" Target="../notesSlides/notesSlide55.xml"/><Relationship Id="rId16" Type="http://schemas.openxmlformats.org/officeDocument/2006/relationships/diagramColors" Target="../diagrams/colors52.xml"/><Relationship Id="rId20" Type="http://schemas.openxmlformats.org/officeDocument/2006/relationships/diagramQuickStyle" Target="../diagrams/quickStyle53.xml"/><Relationship Id="rId1" Type="http://schemas.openxmlformats.org/officeDocument/2006/relationships/slideLayout" Target="../slideLayouts/slideLayout120.xml"/><Relationship Id="rId6" Type="http://schemas.openxmlformats.org/officeDocument/2006/relationships/diagramColors" Target="../diagrams/colors50.xml"/><Relationship Id="rId11" Type="http://schemas.openxmlformats.org/officeDocument/2006/relationships/diagramColors" Target="../diagrams/colors51.xml"/><Relationship Id="rId5" Type="http://schemas.openxmlformats.org/officeDocument/2006/relationships/diagramQuickStyle" Target="../diagrams/quickStyle50.xml"/><Relationship Id="rId15" Type="http://schemas.openxmlformats.org/officeDocument/2006/relationships/diagramQuickStyle" Target="../diagrams/quickStyle52.xml"/><Relationship Id="rId10" Type="http://schemas.openxmlformats.org/officeDocument/2006/relationships/diagramQuickStyle" Target="../diagrams/quickStyle51.xml"/><Relationship Id="rId19" Type="http://schemas.openxmlformats.org/officeDocument/2006/relationships/diagramLayout" Target="../diagrams/layout53.xml"/><Relationship Id="rId4" Type="http://schemas.openxmlformats.org/officeDocument/2006/relationships/diagramLayout" Target="../diagrams/layout50.xml"/><Relationship Id="rId9" Type="http://schemas.openxmlformats.org/officeDocument/2006/relationships/diagramLayout" Target="../diagrams/layout51.xml"/><Relationship Id="rId14" Type="http://schemas.openxmlformats.org/officeDocument/2006/relationships/diagramLayout" Target="../diagrams/layout52.xml"/><Relationship Id="rId22" Type="http://schemas.microsoft.com/office/2007/relationships/diagramDrawing" Target="../diagrams/drawing53.xml"/></Relationships>
</file>

<file path=ppt/slides/_rels/slide58.xml.rels><?xml version="1.0" encoding="UTF-8" standalone="yes"?>
<Relationships xmlns="http://schemas.openxmlformats.org/package/2006/relationships"><Relationship Id="rId8" Type="http://schemas.openxmlformats.org/officeDocument/2006/relationships/diagramData" Target="../diagrams/data55.xml"/><Relationship Id="rId13" Type="http://schemas.openxmlformats.org/officeDocument/2006/relationships/diagramData" Target="../diagrams/data56.xml"/><Relationship Id="rId3" Type="http://schemas.openxmlformats.org/officeDocument/2006/relationships/diagramData" Target="../diagrams/data54.xml"/><Relationship Id="rId7" Type="http://schemas.microsoft.com/office/2007/relationships/diagramDrawing" Target="../diagrams/drawing54.xml"/><Relationship Id="rId12" Type="http://schemas.microsoft.com/office/2007/relationships/diagramDrawing" Target="../diagrams/drawing55.xml"/><Relationship Id="rId17" Type="http://schemas.microsoft.com/office/2007/relationships/diagramDrawing" Target="../diagrams/drawing56.xml"/><Relationship Id="rId2" Type="http://schemas.openxmlformats.org/officeDocument/2006/relationships/notesSlide" Target="../notesSlides/notesSlide56.xml"/><Relationship Id="rId16" Type="http://schemas.openxmlformats.org/officeDocument/2006/relationships/diagramColors" Target="../diagrams/colors56.xml"/><Relationship Id="rId1" Type="http://schemas.openxmlformats.org/officeDocument/2006/relationships/slideLayout" Target="../slideLayouts/slideLayout120.xml"/><Relationship Id="rId6" Type="http://schemas.openxmlformats.org/officeDocument/2006/relationships/diagramColors" Target="../diagrams/colors54.xml"/><Relationship Id="rId11" Type="http://schemas.openxmlformats.org/officeDocument/2006/relationships/diagramColors" Target="../diagrams/colors55.xml"/><Relationship Id="rId5" Type="http://schemas.openxmlformats.org/officeDocument/2006/relationships/diagramQuickStyle" Target="../diagrams/quickStyle54.xml"/><Relationship Id="rId15" Type="http://schemas.openxmlformats.org/officeDocument/2006/relationships/diagramQuickStyle" Target="../diagrams/quickStyle56.xml"/><Relationship Id="rId10" Type="http://schemas.openxmlformats.org/officeDocument/2006/relationships/diagramQuickStyle" Target="../diagrams/quickStyle55.xml"/><Relationship Id="rId4" Type="http://schemas.openxmlformats.org/officeDocument/2006/relationships/diagramLayout" Target="../diagrams/layout54.xml"/><Relationship Id="rId9" Type="http://schemas.openxmlformats.org/officeDocument/2006/relationships/diagramLayout" Target="../diagrams/layout55.xml"/><Relationship Id="rId14" Type="http://schemas.openxmlformats.org/officeDocument/2006/relationships/diagramLayout" Target="../diagrams/layout56.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57.xml"/><Relationship Id="rId7" Type="http://schemas.microsoft.com/office/2007/relationships/diagramDrawing" Target="../diagrams/drawing57.xml"/><Relationship Id="rId2" Type="http://schemas.openxmlformats.org/officeDocument/2006/relationships/notesSlide" Target="../notesSlides/notesSlide57.xml"/><Relationship Id="rId1" Type="http://schemas.openxmlformats.org/officeDocument/2006/relationships/slideLayout" Target="../slideLayouts/slideLayout120.xml"/><Relationship Id="rId6" Type="http://schemas.openxmlformats.org/officeDocument/2006/relationships/diagramColors" Target="../diagrams/colors57.xml"/><Relationship Id="rId5" Type="http://schemas.openxmlformats.org/officeDocument/2006/relationships/diagramQuickStyle" Target="../diagrams/quickStyle57.xml"/><Relationship Id="rId4" Type="http://schemas.openxmlformats.org/officeDocument/2006/relationships/diagramLayout" Target="../diagrams/layout57.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diagramLayout" Target="../diagrams/layout2.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diagramData" Target="../diagrams/data2.xml"/><Relationship Id="rId2" Type="http://schemas.openxmlformats.org/officeDocument/2006/relationships/notesSlide" Target="../notesSlides/notesSlide5.xml"/><Relationship Id="rId16" Type="http://schemas.microsoft.com/office/2007/relationships/diagramDrawing" Target="../diagrams/drawing2.xml"/><Relationship Id="rId1" Type="http://schemas.openxmlformats.org/officeDocument/2006/relationships/slideLayout" Target="../slideLayouts/slideLayout8.xml"/><Relationship Id="rId6" Type="http://schemas.openxmlformats.org/officeDocument/2006/relationships/diagramColors" Target="../diagrams/colors1.xml"/><Relationship Id="rId11" Type="http://schemas.openxmlformats.org/officeDocument/2006/relationships/image" Target="../media/image24.png"/><Relationship Id="rId5" Type="http://schemas.openxmlformats.org/officeDocument/2006/relationships/diagramQuickStyle" Target="../diagrams/quickStyle1.xml"/><Relationship Id="rId15" Type="http://schemas.openxmlformats.org/officeDocument/2006/relationships/diagramColors" Target="../diagrams/colors2.xml"/><Relationship Id="rId10" Type="http://schemas.openxmlformats.org/officeDocument/2006/relationships/image" Target="../media/image23.png"/><Relationship Id="rId4" Type="http://schemas.openxmlformats.org/officeDocument/2006/relationships/diagramLayout" Target="../diagrams/layout1.xml"/><Relationship Id="rId9" Type="http://schemas.openxmlformats.org/officeDocument/2006/relationships/image" Target="../media/image22.png"/><Relationship Id="rId14" Type="http://schemas.openxmlformats.org/officeDocument/2006/relationships/diagramQuickStyle" Target="../diagrams/quickStyle2.xml"/></Relationships>
</file>

<file path=ppt/slides/_rels/slide60.xml.rels><?xml version="1.0" encoding="UTF-8" standalone="yes"?>
<Relationships xmlns="http://schemas.openxmlformats.org/package/2006/relationships"><Relationship Id="rId8" Type="http://schemas.openxmlformats.org/officeDocument/2006/relationships/diagramData" Target="../diagrams/data59.xml"/><Relationship Id="rId13" Type="http://schemas.openxmlformats.org/officeDocument/2006/relationships/diagramData" Target="../diagrams/data60.xml"/><Relationship Id="rId3" Type="http://schemas.openxmlformats.org/officeDocument/2006/relationships/diagramData" Target="../diagrams/data58.xml"/><Relationship Id="rId7" Type="http://schemas.microsoft.com/office/2007/relationships/diagramDrawing" Target="../diagrams/drawing58.xml"/><Relationship Id="rId12" Type="http://schemas.microsoft.com/office/2007/relationships/diagramDrawing" Target="../diagrams/drawing59.xml"/><Relationship Id="rId17" Type="http://schemas.microsoft.com/office/2007/relationships/diagramDrawing" Target="../diagrams/drawing60.xml"/><Relationship Id="rId2" Type="http://schemas.openxmlformats.org/officeDocument/2006/relationships/notesSlide" Target="../notesSlides/notesSlide58.xml"/><Relationship Id="rId16" Type="http://schemas.openxmlformats.org/officeDocument/2006/relationships/diagramColors" Target="../diagrams/colors60.xml"/><Relationship Id="rId1" Type="http://schemas.openxmlformats.org/officeDocument/2006/relationships/slideLayout" Target="../slideLayouts/slideLayout120.xml"/><Relationship Id="rId6" Type="http://schemas.openxmlformats.org/officeDocument/2006/relationships/diagramColors" Target="../diagrams/colors58.xml"/><Relationship Id="rId11" Type="http://schemas.openxmlformats.org/officeDocument/2006/relationships/diagramColors" Target="../diagrams/colors59.xml"/><Relationship Id="rId5" Type="http://schemas.openxmlformats.org/officeDocument/2006/relationships/diagramQuickStyle" Target="../diagrams/quickStyle58.xml"/><Relationship Id="rId15" Type="http://schemas.openxmlformats.org/officeDocument/2006/relationships/diagramQuickStyle" Target="../diagrams/quickStyle60.xml"/><Relationship Id="rId10" Type="http://schemas.openxmlformats.org/officeDocument/2006/relationships/diagramQuickStyle" Target="../diagrams/quickStyle59.xml"/><Relationship Id="rId4" Type="http://schemas.openxmlformats.org/officeDocument/2006/relationships/diagramLayout" Target="../diagrams/layout58.xml"/><Relationship Id="rId9" Type="http://schemas.openxmlformats.org/officeDocument/2006/relationships/diagramLayout" Target="../diagrams/layout59.xml"/><Relationship Id="rId14" Type="http://schemas.openxmlformats.org/officeDocument/2006/relationships/diagramLayout" Target="../diagrams/layout60.xml"/></Relationships>
</file>

<file path=ppt/slides/_rels/slide6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diagramData" Target="../diagrams/data61.xml"/><Relationship Id="rId7" Type="http://schemas.microsoft.com/office/2007/relationships/diagramDrawing" Target="../diagrams/drawing61.xml"/><Relationship Id="rId2" Type="http://schemas.openxmlformats.org/officeDocument/2006/relationships/image" Target="../media/image54.png"/><Relationship Id="rId1" Type="http://schemas.openxmlformats.org/officeDocument/2006/relationships/slideLayout" Target="../slideLayouts/slideLayout105.xml"/><Relationship Id="rId6" Type="http://schemas.openxmlformats.org/officeDocument/2006/relationships/diagramColors" Target="../diagrams/colors61.xml"/><Relationship Id="rId5" Type="http://schemas.openxmlformats.org/officeDocument/2006/relationships/diagramQuickStyle" Target="../diagrams/quickStyle61.xml"/><Relationship Id="rId4" Type="http://schemas.openxmlformats.org/officeDocument/2006/relationships/diagramLayout" Target="../diagrams/layout61.xml"/></Relationships>
</file>

<file path=ppt/slides/_rels/slide6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diagramData" Target="../diagrams/data62.xml"/><Relationship Id="rId7" Type="http://schemas.microsoft.com/office/2007/relationships/diagramDrawing" Target="../diagrams/drawing62.xml"/><Relationship Id="rId2" Type="http://schemas.openxmlformats.org/officeDocument/2006/relationships/image" Target="../media/image56.png"/><Relationship Id="rId1" Type="http://schemas.openxmlformats.org/officeDocument/2006/relationships/slideLayout" Target="../slideLayouts/slideLayout105.xml"/><Relationship Id="rId6" Type="http://schemas.openxmlformats.org/officeDocument/2006/relationships/diagramColors" Target="../diagrams/colors62.xml"/><Relationship Id="rId5" Type="http://schemas.openxmlformats.org/officeDocument/2006/relationships/diagramQuickStyle" Target="../diagrams/quickStyle62.xml"/><Relationship Id="rId10" Type="http://schemas.openxmlformats.org/officeDocument/2006/relationships/image" Target="../media/image59.png"/><Relationship Id="rId4" Type="http://schemas.openxmlformats.org/officeDocument/2006/relationships/diagramLayout" Target="../diagrams/layout62.xml"/><Relationship Id="rId9" Type="http://schemas.openxmlformats.org/officeDocument/2006/relationships/image" Target="../media/image58.png"/></Relationships>
</file>

<file path=ppt/slides/_rels/slide63.xml.rels><?xml version="1.0" encoding="UTF-8" standalone="yes"?>
<Relationships xmlns="http://schemas.openxmlformats.org/package/2006/relationships"><Relationship Id="rId8" Type="http://schemas.openxmlformats.org/officeDocument/2006/relationships/diagramData" Target="../diagrams/data64.xml"/><Relationship Id="rId13" Type="http://schemas.openxmlformats.org/officeDocument/2006/relationships/diagramData" Target="../diagrams/data65.xml"/><Relationship Id="rId3" Type="http://schemas.openxmlformats.org/officeDocument/2006/relationships/diagramData" Target="../diagrams/data63.xml"/><Relationship Id="rId7" Type="http://schemas.microsoft.com/office/2007/relationships/diagramDrawing" Target="../diagrams/drawing63.xml"/><Relationship Id="rId12" Type="http://schemas.microsoft.com/office/2007/relationships/diagramDrawing" Target="../diagrams/drawing64.xml"/><Relationship Id="rId17" Type="http://schemas.microsoft.com/office/2007/relationships/diagramDrawing" Target="../diagrams/drawing65.xml"/><Relationship Id="rId2" Type="http://schemas.openxmlformats.org/officeDocument/2006/relationships/notesSlide" Target="../notesSlides/notesSlide59.xml"/><Relationship Id="rId16" Type="http://schemas.openxmlformats.org/officeDocument/2006/relationships/diagramColors" Target="../diagrams/colors65.xml"/><Relationship Id="rId1" Type="http://schemas.openxmlformats.org/officeDocument/2006/relationships/slideLayout" Target="../slideLayouts/slideLayout120.xml"/><Relationship Id="rId6" Type="http://schemas.openxmlformats.org/officeDocument/2006/relationships/diagramColors" Target="../diagrams/colors63.xml"/><Relationship Id="rId11" Type="http://schemas.openxmlformats.org/officeDocument/2006/relationships/diagramColors" Target="../diagrams/colors64.xml"/><Relationship Id="rId5" Type="http://schemas.openxmlformats.org/officeDocument/2006/relationships/diagramQuickStyle" Target="../diagrams/quickStyle63.xml"/><Relationship Id="rId15" Type="http://schemas.openxmlformats.org/officeDocument/2006/relationships/diagramQuickStyle" Target="../diagrams/quickStyle65.xml"/><Relationship Id="rId10" Type="http://schemas.openxmlformats.org/officeDocument/2006/relationships/diagramQuickStyle" Target="../diagrams/quickStyle64.xml"/><Relationship Id="rId4" Type="http://schemas.openxmlformats.org/officeDocument/2006/relationships/diagramLayout" Target="../diagrams/layout63.xml"/><Relationship Id="rId9" Type="http://schemas.openxmlformats.org/officeDocument/2006/relationships/diagramLayout" Target="../diagrams/layout64.xml"/><Relationship Id="rId14" Type="http://schemas.openxmlformats.org/officeDocument/2006/relationships/diagramLayout" Target="../diagrams/layout65.xml"/></Relationships>
</file>

<file path=ppt/slides/_rels/slide64.xml.rels><?xml version="1.0" encoding="UTF-8" standalone="yes"?>
<Relationships xmlns="http://schemas.openxmlformats.org/package/2006/relationships"><Relationship Id="rId8" Type="http://schemas.openxmlformats.org/officeDocument/2006/relationships/diagramData" Target="../diagrams/data67.xml"/><Relationship Id="rId13" Type="http://schemas.openxmlformats.org/officeDocument/2006/relationships/diagramData" Target="../diagrams/data68.xml"/><Relationship Id="rId3" Type="http://schemas.openxmlformats.org/officeDocument/2006/relationships/diagramData" Target="../diagrams/data66.xml"/><Relationship Id="rId7" Type="http://schemas.microsoft.com/office/2007/relationships/diagramDrawing" Target="../diagrams/drawing66.xml"/><Relationship Id="rId12" Type="http://schemas.microsoft.com/office/2007/relationships/diagramDrawing" Target="../diagrams/drawing67.xml"/><Relationship Id="rId17" Type="http://schemas.microsoft.com/office/2007/relationships/diagramDrawing" Target="../diagrams/drawing68.xml"/><Relationship Id="rId2" Type="http://schemas.openxmlformats.org/officeDocument/2006/relationships/notesSlide" Target="../notesSlides/notesSlide60.xml"/><Relationship Id="rId16" Type="http://schemas.openxmlformats.org/officeDocument/2006/relationships/diagramColors" Target="../diagrams/colors68.xml"/><Relationship Id="rId1" Type="http://schemas.openxmlformats.org/officeDocument/2006/relationships/slideLayout" Target="../slideLayouts/slideLayout120.xml"/><Relationship Id="rId6" Type="http://schemas.openxmlformats.org/officeDocument/2006/relationships/diagramColors" Target="../diagrams/colors66.xml"/><Relationship Id="rId11" Type="http://schemas.openxmlformats.org/officeDocument/2006/relationships/diagramColors" Target="../diagrams/colors67.xml"/><Relationship Id="rId5" Type="http://schemas.openxmlformats.org/officeDocument/2006/relationships/diagramQuickStyle" Target="../diagrams/quickStyle66.xml"/><Relationship Id="rId15" Type="http://schemas.openxmlformats.org/officeDocument/2006/relationships/diagramQuickStyle" Target="../diagrams/quickStyle68.xml"/><Relationship Id="rId10" Type="http://schemas.openxmlformats.org/officeDocument/2006/relationships/diagramQuickStyle" Target="../diagrams/quickStyle67.xml"/><Relationship Id="rId4" Type="http://schemas.openxmlformats.org/officeDocument/2006/relationships/diagramLayout" Target="../diagrams/layout66.xml"/><Relationship Id="rId9" Type="http://schemas.openxmlformats.org/officeDocument/2006/relationships/diagramLayout" Target="../diagrams/layout67.xml"/><Relationship Id="rId14" Type="http://schemas.openxmlformats.org/officeDocument/2006/relationships/diagramLayout" Target="../diagrams/layout68.xml"/></Relationships>
</file>

<file path=ppt/slides/_rels/slide6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1.xml"/><Relationship Id="rId1" Type="http://schemas.openxmlformats.org/officeDocument/2006/relationships/slideLayout" Target="../slideLayouts/slideLayout105.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69.xml"/><Relationship Id="rId7" Type="http://schemas.microsoft.com/office/2007/relationships/diagramDrawing" Target="../diagrams/drawing69.xml"/><Relationship Id="rId2" Type="http://schemas.openxmlformats.org/officeDocument/2006/relationships/notesSlide" Target="../notesSlides/notesSlide62.xml"/><Relationship Id="rId1" Type="http://schemas.openxmlformats.org/officeDocument/2006/relationships/slideLayout" Target="../slideLayouts/slideLayout120.xml"/><Relationship Id="rId6" Type="http://schemas.openxmlformats.org/officeDocument/2006/relationships/diagramColors" Target="../diagrams/colors69.xml"/><Relationship Id="rId5" Type="http://schemas.openxmlformats.org/officeDocument/2006/relationships/diagramQuickStyle" Target="../diagrams/quickStyle69.xml"/><Relationship Id="rId4" Type="http://schemas.openxmlformats.org/officeDocument/2006/relationships/diagramLayout" Target="../diagrams/layout6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xml"/><Relationship Id="rId1" Type="http://schemas.openxmlformats.org/officeDocument/2006/relationships/tags" Target="../tags/tag18.xml"/><Relationship Id="rId4" Type="http://schemas.openxmlformats.org/officeDocument/2006/relationships/image" Target="../media/image61.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3.xml"/><Relationship Id="rId1" Type="http://schemas.openxmlformats.org/officeDocument/2006/relationships/tags" Target="../tags/tag19.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8.png"/><Relationship Id="rId7" Type="http://schemas.openxmlformats.org/officeDocument/2006/relationships/diagramColors" Target="../diagrams/colors5.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Azure SQL Performance Tuning</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6</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Query Performance Insight</a:t>
            </a:r>
          </a:p>
          <a:p>
            <a:pPr marL="571500" lvl="1" indent="-342900">
              <a:buFont typeface="Arial" panose="020B0604020202020204" pitchFamily="34" charset="0"/>
              <a:buChar char="•"/>
            </a:pPr>
            <a:r>
              <a:rPr lang="en-US" dirty="0"/>
              <a:t>Analyze the Query Performance Insight output.</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6856428"/>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9" y="2979777"/>
            <a:ext cx="8335962" cy="604798"/>
          </a:xfrm>
        </p:spPr>
        <p:txBody>
          <a:bodyPr/>
          <a:lstStyle/>
          <a:p>
            <a:r>
              <a:rPr lang="en-US" dirty="0"/>
              <a:t>Lesson 2: Azure SQL Automatic Tuning</a:t>
            </a:r>
          </a:p>
        </p:txBody>
      </p:sp>
    </p:spTree>
    <p:extLst>
      <p:ext uri="{BB962C8B-B14F-4D97-AF65-F5344CB8AC3E}">
        <p14:creationId xmlns:p14="http://schemas.microsoft.com/office/powerpoint/2010/main" val="574958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Know how Performance Recommendations can help to improve database performanc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Automatic Tuning</a:t>
            </a:r>
          </a:p>
        </p:txBody>
      </p:sp>
      <p:pic>
        <p:nvPicPr>
          <p:cNvPr id="4" name="Picture 2" descr="How does automatic tuning work">
            <a:extLst>
              <a:ext uri="{FF2B5EF4-FFF2-40B4-BE49-F238E27FC236}">
                <a16:creationId xmlns:a16="http://schemas.microsoft.com/office/drawing/2014/main" id="{D1C9C352-678B-48F0-9F9D-99341035D2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1240" y="990600"/>
            <a:ext cx="7578050" cy="50610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Rectangle 4">
            <a:extLst>
              <a:ext uri="{FF2B5EF4-FFF2-40B4-BE49-F238E27FC236}">
                <a16:creationId xmlns:a16="http://schemas.microsoft.com/office/drawing/2014/main" id="{61DC19AA-6E4A-4840-A775-C596349863FC}"/>
              </a:ext>
            </a:extLst>
          </p:cNvPr>
          <p:cNvSpPr/>
          <p:nvPr/>
        </p:nvSpPr>
        <p:spPr>
          <a:xfrm>
            <a:off x="655638" y="6353294"/>
            <a:ext cx="5194627" cy="369332"/>
          </a:xfrm>
          <a:prstGeom prst="rect">
            <a:avLst/>
          </a:prstGeom>
        </p:spPr>
        <p:txBody>
          <a:bodyPr wrap="none">
            <a:spAutoFit/>
          </a:bodyPr>
          <a:lstStyle/>
          <a:p>
            <a:r>
              <a:rPr lang="en-US" dirty="0">
                <a:hlinkClick r:id="rId4"/>
              </a:rPr>
              <a:t>Performance recommendations for SQL Database</a:t>
            </a:r>
            <a:endParaRPr lang="nl-BE" dirty="0"/>
          </a:p>
        </p:txBody>
      </p:sp>
    </p:spTree>
    <p:extLst>
      <p:ext uri="{BB962C8B-B14F-4D97-AF65-F5344CB8AC3E}">
        <p14:creationId xmlns:p14="http://schemas.microsoft.com/office/powerpoint/2010/main" val="3033619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Intelligent Performance – Automatic Tuning </a:t>
            </a:r>
          </a:p>
        </p:txBody>
      </p:sp>
      <p:graphicFrame>
        <p:nvGraphicFramePr>
          <p:cNvPr id="11" name="Diagram 10">
            <a:extLst>
              <a:ext uri="{FF2B5EF4-FFF2-40B4-BE49-F238E27FC236}">
                <a16:creationId xmlns:a16="http://schemas.microsoft.com/office/drawing/2014/main" id="{C446714C-5FAA-4A7A-AAD7-50BCC417B290}"/>
              </a:ext>
            </a:extLst>
          </p:cNvPr>
          <p:cNvGraphicFramePr/>
          <p:nvPr/>
        </p:nvGraphicFramePr>
        <p:xfrm>
          <a:off x="7668402" y="1581184"/>
          <a:ext cx="3867960" cy="46465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D3F290EA-7024-4EDA-8DE0-EAFCC2265B06}"/>
              </a:ext>
            </a:extLst>
          </p:cNvPr>
          <p:cNvPicPr>
            <a:picLocks noChangeAspect="1"/>
          </p:cNvPicPr>
          <p:nvPr/>
        </p:nvPicPr>
        <p:blipFill>
          <a:blip r:embed="rId7"/>
          <a:stretch>
            <a:fillRect/>
          </a:stretch>
        </p:blipFill>
        <p:spPr>
          <a:xfrm>
            <a:off x="400167" y="1186151"/>
            <a:ext cx="3331683" cy="2190403"/>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E384CD1A-7469-4348-BF6D-949E765428C8}"/>
              </a:ext>
            </a:extLst>
          </p:cNvPr>
          <p:cNvPicPr>
            <a:picLocks noChangeAspect="1"/>
          </p:cNvPicPr>
          <p:nvPr/>
        </p:nvPicPr>
        <p:blipFill>
          <a:blip r:embed="rId8"/>
          <a:stretch>
            <a:fillRect/>
          </a:stretch>
        </p:blipFill>
        <p:spPr>
          <a:xfrm>
            <a:off x="411890" y="2052321"/>
            <a:ext cx="6646446" cy="2858252"/>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B320CFA1-54F1-4B58-953C-3F66804D2557}"/>
              </a:ext>
            </a:extLst>
          </p:cNvPr>
          <p:cNvPicPr>
            <a:picLocks noChangeAspect="1"/>
          </p:cNvPicPr>
          <p:nvPr/>
        </p:nvPicPr>
        <p:blipFill>
          <a:blip r:embed="rId9"/>
          <a:stretch>
            <a:fillRect/>
          </a:stretch>
        </p:blipFill>
        <p:spPr>
          <a:xfrm>
            <a:off x="400167" y="2994408"/>
            <a:ext cx="7085075" cy="2858252"/>
          </a:xfrm>
          <a:prstGeom prst="rect">
            <a:avLst/>
          </a:prstGeom>
          <a:ln>
            <a:noFill/>
          </a:ln>
          <a:effectLst>
            <a:outerShdw blurRad="190500" algn="tl" rotWithShape="0">
              <a:srgbClr val="000000">
                <a:alpha val="70000"/>
              </a:srgbClr>
            </a:outerShdw>
          </a:effectLst>
        </p:spPr>
      </p:pic>
      <p:sp>
        <p:nvSpPr>
          <p:cNvPr id="9" name="Rectangle 8">
            <a:extLst>
              <a:ext uri="{FF2B5EF4-FFF2-40B4-BE49-F238E27FC236}">
                <a16:creationId xmlns:a16="http://schemas.microsoft.com/office/drawing/2014/main" id="{C9CAA35B-2CEF-45B0-B134-99304CDD4612}"/>
              </a:ext>
            </a:extLst>
          </p:cNvPr>
          <p:cNvSpPr/>
          <p:nvPr/>
        </p:nvSpPr>
        <p:spPr>
          <a:xfrm>
            <a:off x="655636" y="5880601"/>
            <a:ext cx="6646446" cy="657359"/>
          </a:xfrm>
          <a:prstGeom prst="rect">
            <a:avLst/>
          </a:prstGeom>
        </p:spPr>
        <p:txBody>
          <a:bodyPr wrap="square">
            <a:spAutoFit/>
          </a:bodyPr>
          <a:lstStyle/>
          <a:p>
            <a:pPr defTabSz="932418"/>
            <a:r>
              <a:rPr lang="en-GB" sz="1836" dirty="0">
                <a:solidFill>
                  <a:prstClr val="black"/>
                </a:solidFill>
                <a:latin typeface="Calibri" panose="020F0502020204030204"/>
                <a:hlinkClick r:id="rId10"/>
              </a:rPr>
              <a:t>http://automaticplancorrectiondemo.azurewebsites.net/index.html</a:t>
            </a:r>
            <a:endParaRPr lang="en-GB" sz="1836" dirty="0">
              <a:solidFill>
                <a:prstClr val="black"/>
              </a:solidFill>
              <a:latin typeface="Calibri" panose="020F0502020204030204"/>
            </a:endParaRPr>
          </a:p>
          <a:p>
            <a:pPr defTabSz="932418"/>
            <a:endParaRPr lang="en-GB" sz="1836" dirty="0">
              <a:solidFill>
                <a:prstClr val="black"/>
              </a:solidFill>
              <a:latin typeface="Calibri" panose="020F0502020204030204"/>
            </a:endParaRPr>
          </a:p>
        </p:txBody>
      </p:sp>
    </p:spTree>
    <p:extLst>
      <p:ext uri="{BB962C8B-B14F-4D97-AF65-F5344CB8AC3E}">
        <p14:creationId xmlns:p14="http://schemas.microsoft.com/office/powerpoint/2010/main" val="3383849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Automatic Tuning – Create Index</a:t>
            </a:r>
          </a:p>
        </p:txBody>
      </p:sp>
      <p:graphicFrame>
        <p:nvGraphicFramePr>
          <p:cNvPr id="4" name="Content Placeholder 3">
            <a:extLst>
              <a:ext uri="{FF2B5EF4-FFF2-40B4-BE49-F238E27FC236}">
                <a16:creationId xmlns:a16="http://schemas.microsoft.com/office/drawing/2014/main" id="{EA5387F8-BA10-4FB8-BE87-228B55D00AF3}"/>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82957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Automatic Tuning – Drop Index</a:t>
            </a:r>
          </a:p>
        </p:txBody>
      </p:sp>
      <p:graphicFrame>
        <p:nvGraphicFramePr>
          <p:cNvPr id="4" name="Content Placeholder 3">
            <a:extLst>
              <a:ext uri="{FF2B5EF4-FFF2-40B4-BE49-F238E27FC236}">
                <a16:creationId xmlns:a16="http://schemas.microsoft.com/office/drawing/2014/main" id="{C66C0D6E-D4B7-4C3C-81E4-169E7FF3D6EE}"/>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2331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a:xfrm>
            <a:off x="655638" y="320040"/>
            <a:ext cx="10880725" cy="461665"/>
          </a:xfrm>
        </p:spPr>
        <p:txBody>
          <a:bodyPr wrap="square" anchor="t">
            <a:normAutofit/>
          </a:bodyPr>
          <a:lstStyle/>
          <a:p>
            <a:r>
              <a:rPr lang="en-US" dirty="0"/>
              <a:t>Automatic Tuning – Parameterize Queries</a:t>
            </a:r>
          </a:p>
        </p:txBody>
      </p:sp>
      <p:graphicFrame>
        <p:nvGraphicFramePr>
          <p:cNvPr id="4" name="Content Placeholder 3">
            <a:extLst>
              <a:ext uri="{FF2B5EF4-FFF2-40B4-BE49-F238E27FC236}">
                <a16:creationId xmlns:a16="http://schemas.microsoft.com/office/drawing/2014/main" id="{6B7361B4-A2AD-4EB3-85A1-1B1ECCCBA46E}"/>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92338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p:txBody>
          <a:bodyPr lIns="0" tIns="0" rIns="0" bIns="0" anchor="ctr"/>
          <a:lstStyle/>
          <a:p>
            <a:r>
              <a:rPr lang="en-US">
                <a:solidFill>
                  <a:srgbClr val="FFFFFF"/>
                </a:solidFill>
                <a:latin typeface="Segoe UI Semibold" panose="020B0702040204020203" pitchFamily="34" charset="0"/>
              </a:rPr>
              <a:t>Learning Units covered in this Module</a:t>
            </a:r>
          </a:p>
        </p:txBody>
      </p:sp>
      <p:sp>
        <p:nvSpPr>
          <p:cNvPr id="3" name="Text Placeholder 2">
            <a:extLst>
              <a:ext uri="{FF2B5EF4-FFF2-40B4-BE49-F238E27FC236}">
                <a16:creationId xmlns:a16="http://schemas.microsoft.com/office/drawing/2014/main" id="{355F4707-2382-4D2B-8385-1E54F39F514C}"/>
              </a:ext>
            </a:extLst>
          </p:cNvPr>
          <p:cNvSpPr>
            <a:spLocks noGrp="1"/>
          </p:cNvSpPr>
          <p:nvPr>
            <p:ph type="body" sz="quarter" idx="10"/>
            <p:custDataLst>
              <p:custData r:id="rId2"/>
              <p:tags r:id="rId3"/>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Lesson 1: Troubleshooting Azure SQL Performance with Query Performance Insights</a:t>
            </a:r>
          </a:p>
          <a:p>
            <a:r>
              <a:rPr lang="en-US" dirty="0"/>
              <a:t>Lesson 2: Automatic Tuning in Azure SQL</a:t>
            </a:r>
          </a:p>
          <a:p>
            <a:r>
              <a:rPr lang="en-US" dirty="0"/>
              <a:t>Lesson 3: Intelligent Query Processing</a:t>
            </a:r>
          </a:p>
        </p:txBody>
      </p:sp>
    </p:spTree>
    <p:custDataLst>
      <p:tags r:id="rId1"/>
    </p:custDataLst>
    <p:extLst>
      <p:ext uri="{BB962C8B-B14F-4D97-AF65-F5344CB8AC3E}">
        <p14:creationId xmlns:p14="http://schemas.microsoft.com/office/powerpoint/2010/main" val="3001679096"/>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9" y="2979777"/>
            <a:ext cx="8335962" cy="604798"/>
          </a:xfrm>
        </p:spPr>
        <p:txBody>
          <a:bodyPr/>
          <a:lstStyle/>
          <a:p>
            <a:r>
              <a:rPr lang="en-US" dirty="0"/>
              <a:t>Lesson 3: Intelligent Query Processing</a:t>
            </a:r>
          </a:p>
        </p:txBody>
      </p:sp>
    </p:spTree>
    <p:extLst>
      <p:ext uri="{BB962C8B-B14F-4D97-AF65-F5344CB8AC3E}">
        <p14:creationId xmlns:p14="http://schemas.microsoft.com/office/powerpoint/2010/main" val="1599925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is in the lesson?</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5638" y="1011676"/>
          <a:ext cx="10880725" cy="55262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339722"/>
            <a:ext cx="10972800" cy="1143000"/>
          </a:xfrm>
        </p:spPr>
        <p:txBody>
          <a:bodyPr/>
          <a:lstStyle/>
          <a:p>
            <a:r>
              <a:rPr lang="en-US" dirty="0"/>
              <a:t>In a World… before IQP</a:t>
            </a:r>
          </a:p>
        </p:txBody>
      </p:sp>
      <p:pic>
        <p:nvPicPr>
          <p:cNvPr id="1026" name="Picture 2" descr="See the source image">
            <a:extLst>
              <a:ext uri="{FF2B5EF4-FFF2-40B4-BE49-F238E27FC236}">
                <a16:creationId xmlns:a16="http://schemas.microsoft.com/office/drawing/2014/main" id="{DACC7BE6-E300-1FA0-166E-431CDE9ABD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4732" y="2195004"/>
            <a:ext cx="4514345" cy="223594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5638EDF-9A8B-B152-40E4-89C1E9B7CD00}"/>
              </a:ext>
            </a:extLst>
          </p:cNvPr>
          <p:cNvPicPr>
            <a:picLocks noChangeAspect="1"/>
          </p:cNvPicPr>
          <p:nvPr/>
        </p:nvPicPr>
        <p:blipFill>
          <a:blip r:embed="rId4"/>
          <a:stretch>
            <a:fillRect/>
          </a:stretch>
        </p:blipFill>
        <p:spPr>
          <a:xfrm>
            <a:off x="565072" y="2195004"/>
            <a:ext cx="3534544" cy="2158937"/>
          </a:xfrm>
          <a:prstGeom prst="rect">
            <a:avLst/>
          </a:prstGeom>
        </p:spPr>
      </p:pic>
      <p:grpSp>
        <p:nvGrpSpPr>
          <p:cNvPr id="11" name="Group 10">
            <a:extLst>
              <a:ext uri="{FF2B5EF4-FFF2-40B4-BE49-F238E27FC236}">
                <a16:creationId xmlns:a16="http://schemas.microsoft.com/office/drawing/2014/main" id="{0B749F67-60BD-F31E-6EBF-0A5AA4A2B349}"/>
              </a:ext>
            </a:extLst>
          </p:cNvPr>
          <p:cNvGrpSpPr/>
          <p:nvPr/>
        </p:nvGrpSpPr>
        <p:grpSpPr>
          <a:xfrm>
            <a:off x="4211485" y="2996119"/>
            <a:ext cx="2763247" cy="1031132"/>
            <a:chOff x="4211484" y="2991255"/>
            <a:chExt cx="2763247" cy="1031132"/>
          </a:xfrm>
        </p:grpSpPr>
        <p:sp>
          <p:nvSpPr>
            <p:cNvPr id="8" name="Arrow: Right 7">
              <a:extLst>
                <a:ext uri="{FF2B5EF4-FFF2-40B4-BE49-F238E27FC236}">
                  <a16:creationId xmlns:a16="http://schemas.microsoft.com/office/drawing/2014/main" id="{1BD1CC23-E351-AC94-B2C3-4C9E6F83AD85}"/>
                </a:ext>
              </a:extLst>
            </p:cNvPr>
            <p:cNvSpPr/>
            <p:nvPr/>
          </p:nvSpPr>
          <p:spPr>
            <a:xfrm rot="10800000">
              <a:off x="4211484" y="2991255"/>
              <a:ext cx="2651380" cy="1031132"/>
            </a:xfrm>
            <a:prstGeom prst="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E504C61C-F0AC-E77F-C66D-1B8E18E38BC5}"/>
                </a:ext>
              </a:extLst>
            </p:cNvPr>
            <p:cNvSpPr txBox="1"/>
            <p:nvPr/>
          </p:nvSpPr>
          <p:spPr>
            <a:xfrm>
              <a:off x="5048654" y="3322155"/>
              <a:ext cx="19260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Legacy CE</a:t>
              </a:r>
            </a:p>
          </p:txBody>
        </p:sp>
      </p:grpSp>
      <p:grpSp>
        <p:nvGrpSpPr>
          <p:cNvPr id="14" name="Group 13">
            <a:extLst>
              <a:ext uri="{FF2B5EF4-FFF2-40B4-BE49-F238E27FC236}">
                <a16:creationId xmlns:a16="http://schemas.microsoft.com/office/drawing/2014/main" id="{0A284721-E6E9-2272-5F85-5DC427798DC7}"/>
              </a:ext>
            </a:extLst>
          </p:cNvPr>
          <p:cNvGrpSpPr/>
          <p:nvPr/>
        </p:nvGrpSpPr>
        <p:grpSpPr>
          <a:xfrm>
            <a:off x="4605616" y="2996120"/>
            <a:ext cx="2651380" cy="1031132"/>
            <a:chOff x="4588243" y="2188228"/>
            <a:chExt cx="2651380" cy="1031132"/>
          </a:xfrm>
        </p:grpSpPr>
        <p:sp>
          <p:nvSpPr>
            <p:cNvPr id="7" name="Arrow: Right 6">
              <a:extLst>
                <a:ext uri="{FF2B5EF4-FFF2-40B4-BE49-F238E27FC236}">
                  <a16:creationId xmlns:a16="http://schemas.microsoft.com/office/drawing/2014/main" id="{D8925189-9A9C-281A-F530-88A23A7A7C1E}"/>
                </a:ext>
              </a:extLst>
            </p:cNvPr>
            <p:cNvSpPr/>
            <p:nvPr/>
          </p:nvSpPr>
          <p:spPr>
            <a:xfrm>
              <a:off x="4588243" y="2188228"/>
              <a:ext cx="2651380" cy="1031132"/>
            </a:xfrm>
            <a:prstGeom prst="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81DE29F9-C09B-C5C7-729D-5F9B0C7A6AEB}"/>
                </a:ext>
              </a:extLst>
            </p:cNvPr>
            <p:cNvSpPr txBox="1"/>
            <p:nvPr/>
          </p:nvSpPr>
          <p:spPr>
            <a:xfrm>
              <a:off x="5048655" y="2519128"/>
              <a:ext cx="19260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Updated CE</a:t>
              </a:r>
            </a:p>
          </p:txBody>
        </p:sp>
      </p:grpSp>
    </p:spTree>
    <p:extLst>
      <p:ext uri="{BB962C8B-B14F-4D97-AF65-F5344CB8AC3E}">
        <p14:creationId xmlns:p14="http://schemas.microsoft.com/office/powerpoint/2010/main" val="2278318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4"/>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daptive Query Processing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2439357469"/>
              </p:ext>
            </p:extLst>
          </p:nvPr>
        </p:nvGraphicFramePr>
        <p:xfrm>
          <a:off x="2691351" y="933851"/>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4017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33922"/>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1DFCDBD-1083-4C9B-81B0-18B09E0E498D}"/>
              </a:ext>
            </a:extLst>
          </p:cNvPr>
          <p:cNvSpPr/>
          <p:nvPr/>
        </p:nvSpPr>
        <p:spPr>
          <a:xfrm>
            <a:off x="7853680" y="5505710"/>
            <a:ext cx="1645920" cy="833120"/>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 name="Rectangle: Rounded Corners 6">
            <a:extLst>
              <a:ext uri="{FF2B5EF4-FFF2-40B4-BE49-F238E27FC236}">
                <a16:creationId xmlns:a16="http://schemas.microsoft.com/office/drawing/2014/main" id="{9BC42E97-2FB9-4C21-9224-F41DF6159685}"/>
              </a:ext>
            </a:extLst>
          </p:cNvPr>
          <p:cNvSpPr/>
          <p:nvPr/>
        </p:nvSpPr>
        <p:spPr>
          <a:xfrm>
            <a:off x="9596118" y="5505710"/>
            <a:ext cx="1645920" cy="833120"/>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9717390-56F6-4719-AC3E-6A614E4CEA32}"/>
              </a:ext>
            </a:extLst>
          </p:cNvPr>
          <p:cNvSpPr txBox="1"/>
          <p:nvPr/>
        </p:nvSpPr>
        <p:spPr>
          <a:xfrm>
            <a:off x="7805421"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QL Server    2017</a:t>
            </a:r>
          </a:p>
        </p:txBody>
      </p:sp>
      <p:sp>
        <p:nvSpPr>
          <p:cNvPr id="11" name="TextBox 10">
            <a:extLst>
              <a:ext uri="{FF2B5EF4-FFF2-40B4-BE49-F238E27FC236}">
                <a16:creationId xmlns:a16="http://schemas.microsoft.com/office/drawing/2014/main" id="{F22830DA-357C-4A79-809A-95723C509562}"/>
              </a:ext>
            </a:extLst>
          </p:cNvPr>
          <p:cNvSpPr txBox="1"/>
          <p:nvPr/>
        </p:nvSpPr>
        <p:spPr>
          <a:xfrm>
            <a:off x="9499600"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QL Server    2019</a:t>
            </a:r>
          </a:p>
        </p:txBody>
      </p:sp>
      <p:sp>
        <p:nvSpPr>
          <p:cNvPr id="13" name="TextBox 12">
            <a:extLst>
              <a:ext uri="{FF2B5EF4-FFF2-40B4-BE49-F238E27FC236}">
                <a16:creationId xmlns:a16="http://schemas.microsoft.com/office/drawing/2014/main" id="{381C90F7-662D-4511-86AF-2DEC7C55F09D}"/>
              </a:ext>
            </a:extLst>
          </p:cNvPr>
          <p:cNvSpPr txBox="1"/>
          <p:nvPr/>
        </p:nvSpPr>
        <p:spPr>
          <a:xfrm>
            <a:off x="8336280" y="4918335"/>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73F082C8-817B-4CC4-B844-5F4291A58291}"/>
              </a:ext>
            </a:extLst>
          </p:cNvPr>
          <p:cNvSpPr/>
          <p:nvPr/>
        </p:nvSpPr>
        <p:spPr>
          <a:xfrm>
            <a:off x="7853680" y="5038082"/>
            <a:ext cx="3388357"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zure SQL Database</a:t>
            </a:r>
          </a:p>
        </p:txBody>
      </p:sp>
      <p:sp>
        <p:nvSpPr>
          <p:cNvPr id="18" name="TextBox 17">
            <a:extLst>
              <a:ext uri="{FF2B5EF4-FFF2-40B4-BE49-F238E27FC236}">
                <a16:creationId xmlns:a16="http://schemas.microsoft.com/office/drawing/2014/main" id="{5AC6DA9B-A8EB-4E8C-BB3A-800A9319F264}"/>
              </a:ext>
            </a:extLst>
          </p:cNvPr>
          <p:cNvSpPr txBox="1"/>
          <p:nvPr/>
        </p:nvSpPr>
        <p:spPr>
          <a:xfrm>
            <a:off x="269238" y="5468652"/>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670100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22</a:t>
            </a:r>
          </a:p>
        </p:txBody>
      </p:sp>
    </p:spTree>
    <p:extLst>
      <p:ext uri="{BB962C8B-B14F-4D97-AF65-F5344CB8AC3E}">
        <p14:creationId xmlns:p14="http://schemas.microsoft.com/office/powerpoint/2010/main" val="4545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Instance Level</a:t>
            </a:r>
          </a:p>
        </p:txBody>
      </p:sp>
      <p:graphicFrame>
        <p:nvGraphicFramePr>
          <p:cNvPr id="2" name="Diagram 1">
            <a:extLst>
              <a:ext uri="{FF2B5EF4-FFF2-40B4-BE49-F238E27FC236}">
                <a16:creationId xmlns:a16="http://schemas.microsoft.com/office/drawing/2014/main" id="{A3F703EF-4406-0849-9267-50C04D501408}"/>
              </a:ext>
            </a:extLst>
          </p:cNvPr>
          <p:cNvGraphicFramePr/>
          <p:nvPr/>
        </p:nvGraphicFramePr>
        <p:xfrm>
          <a:off x="269238" y="1108303"/>
          <a:ext cx="11546244" cy="500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5833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560040"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560040"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462763"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389387"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560040" y="3030287"/>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58AF24">
                    <a:lumMod val="50000"/>
                  </a:srgbClr>
                </a:solidFill>
                <a:effectLst/>
                <a:uLnTx/>
                <a:uFillTx/>
                <a:latin typeface="Consolas" panose="020B0609020204030204" pitchFamily="49" charset="0"/>
                <a:ea typeface="+mn-ea"/>
                <a:cs typeface="+mn-cs"/>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514002"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features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58AF24">
                    <a:lumMod val="50000"/>
                  </a:srgbClr>
                </a:solidFill>
                <a:effectLst/>
                <a:uLnTx/>
                <a:uFillTx/>
                <a:latin typeface="Consolas" panose="020B0609020204030204" pitchFamily="49" charset="0"/>
                <a:ea typeface="+mn-ea"/>
                <a:cs typeface="+mn-cs"/>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0682"/>
          <a:ext cx="11922762" cy="6777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22</a:t>
            </a:r>
          </a:p>
        </p:txBody>
      </p:sp>
    </p:spTree>
    <p:extLst>
      <p:ext uri="{BB962C8B-B14F-4D97-AF65-F5344CB8AC3E}">
        <p14:creationId xmlns:p14="http://schemas.microsoft.com/office/powerpoint/2010/main" val="2016030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097962" cy="604798"/>
          </a:xfrm>
        </p:spPr>
        <p:txBody>
          <a:bodyPr/>
          <a:lstStyle/>
          <a:p>
            <a:r>
              <a:rPr lang="en-US" dirty="0"/>
              <a:t>Lesson 1: Query Performance Insights</a:t>
            </a:r>
          </a:p>
        </p:txBody>
      </p:sp>
    </p:spTree>
    <p:extLst>
      <p:ext uri="{BB962C8B-B14F-4D97-AF65-F5344CB8AC3E}">
        <p14:creationId xmlns:p14="http://schemas.microsoft.com/office/powerpoint/2010/main" val="1464352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daptive Query Processing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69238" y="10191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477125" y="1222635"/>
            <a:ext cx="4257675" cy="48936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Segoe UI"/>
                <a:ea typeface="+mn-ea"/>
                <a:cs typeface="+mn-cs"/>
              </a:rPr>
              <a:t>Addresses performance issues related to the cardinality estimation of an execution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black"/>
                </a:solidFill>
                <a:effectLst/>
                <a:uLnTx/>
                <a:uFillTx/>
                <a:latin typeface="Segoe UI"/>
                <a:ea typeface="+mn-ea"/>
                <a:cs typeface="+mn-cs"/>
              </a:rPr>
              <a:t>These options can provide improved join type selection, row-calculations for Multi-Statement Table-Valued Functions, and memory allocation of row storage. </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2640328" y="1165485"/>
            <a:ext cx="2141222" cy="154914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756697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Adaptive Joins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621663" y="96202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839075" y="1848356"/>
            <a:ext cx="425767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This feature enables the choice of either the Hash or the Nested Loop join typ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Decision is deferred until statement exec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No need to use join hints in queries.</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506728" y="2889909"/>
            <a:ext cx="2141222" cy="154914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124124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Adaptive Joins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898879" y="-170910"/>
          <a:ext cx="2023883" cy="16835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5" name="Group 14">
            <a:extLst>
              <a:ext uri="{FF2B5EF4-FFF2-40B4-BE49-F238E27FC236}">
                <a16:creationId xmlns:a16="http://schemas.microsoft.com/office/drawing/2014/main" id="{8DEF5E6A-D41B-A030-F566-BAE79FF9365C}"/>
              </a:ext>
            </a:extLst>
          </p:cNvPr>
          <p:cNvGrpSpPr/>
          <p:nvPr/>
        </p:nvGrpSpPr>
        <p:grpSpPr>
          <a:xfrm>
            <a:off x="1155271" y="1005499"/>
            <a:ext cx="8244911" cy="5277307"/>
            <a:chOff x="1155271" y="1005499"/>
            <a:chExt cx="8244911" cy="5277307"/>
          </a:xfrm>
        </p:grpSpPr>
        <p:pic>
          <p:nvPicPr>
            <p:cNvPr id="7" name="Picture 6">
              <a:extLst>
                <a:ext uri="{FF2B5EF4-FFF2-40B4-BE49-F238E27FC236}">
                  <a16:creationId xmlns:a16="http://schemas.microsoft.com/office/drawing/2014/main" id="{23F2863B-9D63-F55E-23CE-AED8DA5335D9}"/>
                </a:ext>
              </a:extLst>
            </p:cNvPr>
            <p:cNvPicPr>
              <a:picLocks noChangeAspect="1"/>
            </p:cNvPicPr>
            <p:nvPr/>
          </p:nvPicPr>
          <p:blipFill>
            <a:blip r:embed="rId8"/>
            <a:stretch>
              <a:fillRect/>
            </a:stretch>
          </p:blipFill>
          <p:spPr>
            <a:xfrm>
              <a:off x="3867583" y="1005499"/>
              <a:ext cx="5532599" cy="5277307"/>
            </a:xfrm>
            <a:prstGeom prst="rect">
              <a:avLst/>
            </a:prstGeom>
            <a:ln>
              <a:noFill/>
            </a:ln>
            <a:effectLst>
              <a:outerShdw blurRad="190500" algn="tl" rotWithShape="0">
                <a:srgbClr val="000000">
                  <a:alpha val="70000"/>
                </a:srgbClr>
              </a:outerShdw>
            </a:effectLst>
          </p:spPr>
        </p:pic>
        <p:grpSp>
          <p:nvGrpSpPr>
            <p:cNvPr id="14" name="Group 13">
              <a:extLst>
                <a:ext uri="{FF2B5EF4-FFF2-40B4-BE49-F238E27FC236}">
                  <a16:creationId xmlns:a16="http://schemas.microsoft.com/office/drawing/2014/main" id="{754356BB-9863-B1C9-B146-E0C08140FD3E}"/>
                </a:ext>
              </a:extLst>
            </p:cNvPr>
            <p:cNvGrpSpPr/>
            <p:nvPr/>
          </p:nvGrpSpPr>
          <p:grpSpPr>
            <a:xfrm>
              <a:off x="1155271" y="3215356"/>
              <a:ext cx="4971701" cy="2716020"/>
              <a:chOff x="1155271" y="3215356"/>
              <a:chExt cx="4971701" cy="2716020"/>
            </a:xfrm>
          </p:grpSpPr>
          <p:pic>
            <p:nvPicPr>
              <p:cNvPr id="9" name="Picture 8">
                <a:extLst>
                  <a:ext uri="{FF2B5EF4-FFF2-40B4-BE49-F238E27FC236}">
                    <a16:creationId xmlns:a16="http://schemas.microsoft.com/office/drawing/2014/main" id="{026A99C2-CB7E-0665-06AB-FC5E120DAD49}"/>
                  </a:ext>
                </a:extLst>
              </p:cNvPr>
              <p:cNvPicPr>
                <a:picLocks noChangeAspect="1"/>
              </p:cNvPicPr>
              <p:nvPr/>
            </p:nvPicPr>
            <p:blipFill>
              <a:blip r:embed="rId9"/>
              <a:stretch>
                <a:fillRect/>
              </a:stretch>
            </p:blipFill>
            <p:spPr>
              <a:xfrm>
                <a:off x="1186243" y="3215356"/>
                <a:ext cx="4940729" cy="2716020"/>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AC6F5321-9CB3-2FCC-43A9-D09828CFFB54}"/>
                  </a:ext>
                </a:extLst>
              </p:cNvPr>
              <p:cNvSpPr/>
              <p:nvPr/>
            </p:nvSpPr>
            <p:spPr bwMode="auto">
              <a:xfrm>
                <a:off x="1168311" y="4339942"/>
                <a:ext cx="4940729" cy="30051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33E4FF83-4458-1E81-558F-FA60B7DA3D53}"/>
                  </a:ext>
                </a:extLst>
              </p:cNvPr>
              <p:cNvSpPr/>
              <p:nvPr/>
            </p:nvSpPr>
            <p:spPr bwMode="auto">
              <a:xfrm>
                <a:off x="1155271" y="5464528"/>
                <a:ext cx="4940729" cy="30051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873341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rleaved Execution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457200" y="9810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665087" y="1184535"/>
            <a:ext cx="425767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Previously, when a Multi-Statement Table-Valued Function was executed, it used a fixed row estimate of 100 row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Now execution is paused so a better cardinality estimate can be captured.  </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2833370" y="2909025"/>
            <a:ext cx="2141222" cy="154914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554956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rleaved Execution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704805" y="240712"/>
          <a:ext cx="1976812" cy="13050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C3F39735-A492-481E-9470-02F50C7A0414}"/>
              </a:ext>
            </a:extLst>
          </p:cNvPr>
          <p:cNvPicPr>
            <a:picLocks noChangeAspect="1"/>
          </p:cNvPicPr>
          <p:nvPr/>
        </p:nvPicPr>
        <p:blipFill rotWithShape="1">
          <a:blip r:embed="rId8"/>
          <a:srcRect t="11622"/>
          <a:stretch/>
        </p:blipFill>
        <p:spPr>
          <a:xfrm>
            <a:off x="406273" y="2640155"/>
            <a:ext cx="3276624" cy="3476654"/>
          </a:xfrm>
          <a:prstGeom prst="rect">
            <a:avLst/>
          </a:prstGeom>
        </p:spPr>
      </p:pic>
      <p:pic>
        <p:nvPicPr>
          <p:cNvPr id="4" name="Picture 3">
            <a:extLst>
              <a:ext uri="{FF2B5EF4-FFF2-40B4-BE49-F238E27FC236}">
                <a16:creationId xmlns:a16="http://schemas.microsoft.com/office/drawing/2014/main" id="{84FC4B13-51BF-4820-8FA4-85E573D4AF1E}"/>
              </a:ext>
            </a:extLst>
          </p:cNvPr>
          <p:cNvPicPr>
            <a:picLocks noChangeAspect="1"/>
          </p:cNvPicPr>
          <p:nvPr/>
        </p:nvPicPr>
        <p:blipFill>
          <a:blip r:embed="rId9"/>
          <a:stretch>
            <a:fillRect/>
          </a:stretch>
        </p:blipFill>
        <p:spPr>
          <a:xfrm>
            <a:off x="8311100" y="2640155"/>
            <a:ext cx="3371875" cy="3467125"/>
          </a:xfrm>
          <a:prstGeom prst="rect">
            <a:avLst/>
          </a:prstGeom>
        </p:spPr>
      </p:pic>
      <p:sp>
        <p:nvSpPr>
          <p:cNvPr id="11" name="TextBox 10">
            <a:extLst>
              <a:ext uri="{FF2B5EF4-FFF2-40B4-BE49-F238E27FC236}">
                <a16:creationId xmlns:a16="http://schemas.microsoft.com/office/drawing/2014/main" id="{6B7038DE-9175-41A3-A43E-40613102036B}"/>
              </a:ext>
            </a:extLst>
          </p:cNvPr>
          <p:cNvSpPr txBox="1"/>
          <p:nvPr/>
        </p:nvSpPr>
        <p:spPr>
          <a:xfrm>
            <a:off x="406273" y="2151934"/>
            <a:ext cx="3276624"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Compatibility Level 120/130</a:t>
            </a:r>
          </a:p>
        </p:txBody>
      </p:sp>
      <p:pic>
        <p:nvPicPr>
          <p:cNvPr id="13" name="Picture 12">
            <a:extLst>
              <a:ext uri="{FF2B5EF4-FFF2-40B4-BE49-F238E27FC236}">
                <a16:creationId xmlns:a16="http://schemas.microsoft.com/office/drawing/2014/main" id="{5417D934-3AF3-457E-9685-31493C2674B1}"/>
              </a:ext>
            </a:extLst>
          </p:cNvPr>
          <p:cNvPicPr>
            <a:picLocks noChangeAspect="1"/>
          </p:cNvPicPr>
          <p:nvPr/>
        </p:nvPicPr>
        <p:blipFill>
          <a:blip r:embed="rId10"/>
          <a:stretch>
            <a:fillRect/>
          </a:stretch>
        </p:blipFill>
        <p:spPr>
          <a:xfrm>
            <a:off x="4067464" y="1785925"/>
            <a:ext cx="3890991" cy="1643075"/>
          </a:xfrm>
          <a:prstGeom prst="rect">
            <a:avLst/>
          </a:prstGeom>
          <a:ln>
            <a:solidFill>
              <a:schemeClr val="tx2"/>
            </a:solidFill>
          </a:ln>
        </p:spPr>
      </p:pic>
      <p:sp>
        <p:nvSpPr>
          <p:cNvPr id="15" name="TextBox 14">
            <a:extLst>
              <a:ext uri="{FF2B5EF4-FFF2-40B4-BE49-F238E27FC236}">
                <a16:creationId xmlns:a16="http://schemas.microsoft.com/office/drawing/2014/main" id="{D0951406-78C6-4EE9-B67D-5E8CB5038F49}"/>
              </a:ext>
            </a:extLst>
          </p:cNvPr>
          <p:cNvSpPr txBox="1"/>
          <p:nvPr/>
        </p:nvSpPr>
        <p:spPr>
          <a:xfrm>
            <a:off x="8311100" y="2151934"/>
            <a:ext cx="3371875"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Compatibility Level 140 or higher</a:t>
            </a:r>
          </a:p>
        </p:txBody>
      </p:sp>
      <p:sp>
        <p:nvSpPr>
          <p:cNvPr id="17" name="Rectangle 16">
            <a:extLst>
              <a:ext uri="{FF2B5EF4-FFF2-40B4-BE49-F238E27FC236}">
                <a16:creationId xmlns:a16="http://schemas.microsoft.com/office/drawing/2014/main" id="{3574D9CA-14A7-41EA-8A2A-9DCC136D8600}"/>
              </a:ext>
            </a:extLst>
          </p:cNvPr>
          <p:cNvSpPr/>
          <p:nvPr/>
        </p:nvSpPr>
        <p:spPr bwMode="auto">
          <a:xfrm>
            <a:off x="377069" y="5105006"/>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0F7D809B-C796-4B90-9370-C540CB6FA284}"/>
              </a:ext>
            </a:extLst>
          </p:cNvPr>
          <p:cNvSpPr/>
          <p:nvPr/>
        </p:nvSpPr>
        <p:spPr bwMode="auto">
          <a:xfrm>
            <a:off x="6764708" y="2609455"/>
            <a:ext cx="838200" cy="81954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A3B3EBDF-09F2-47AC-AC28-232FFA4089DF}"/>
              </a:ext>
            </a:extLst>
          </p:cNvPr>
          <p:cNvSpPr/>
          <p:nvPr/>
        </p:nvSpPr>
        <p:spPr bwMode="auto">
          <a:xfrm>
            <a:off x="379785" y="3640695"/>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F52DB238-1482-46F1-9684-6F35FCD3A8D2}"/>
              </a:ext>
            </a:extLst>
          </p:cNvPr>
          <p:cNvSpPr/>
          <p:nvPr/>
        </p:nvSpPr>
        <p:spPr bwMode="auto">
          <a:xfrm>
            <a:off x="8346584" y="5092732"/>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F8D91FD3-37C0-4F1D-9CC9-2462670ED229}"/>
              </a:ext>
            </a:extLst>
          </p:cNvPr>
          <p:cNvSpPr/>
          <p:nvPr/>
        </p:nvSpPr>
        <p:spPr bwMode="auto">
          <a:xfrm>
            <a:off x="8349300" y="3628421"/>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D9BC5F9A-1F89-400F-96DA-871DE7474C18}"/>
              </a:ext>
            </a:extLst>
          </p:cNvPr>
          <p:cNvSpPr txBox="1"/>
          <p:nvPr/>
        </p:nvSpPr>
        <p:spPr>
          <a:xfrm>
            <a:off x="3956237" y="3610133"/>
            <a:ext cx="4203821" cy="2788456"/>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During optimization if SQL Server encounter a read-only multi-statement table-valued function (MSTVF), it will pause optimization, execute the applicable subtree, capture accurate cardinality estimates, and then resume optimization for downstream operations.</a:t>
            </a:r>
          </a:p>
        </p:txBody>
      </p:sp>
    </p:spTree>
    <p:extLst>
      <p:ext uri="{BB962C8B-B14F-4D97-AF65-F5344CB8AC3E}">
        <p14:creationId xmlns:p14="http://schemas.microsoft.com/office/powerpoint/2010/main" val="12362434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465562" cy="1143000"/>
          </a:xfrm>
        </p:spPr>
        <p:txBody>
          <a:bodyPr/>
          <a:lstStyle/>
          <a:p>
            <a:r>
              <a:rPr lang="en-US" dirty="0"/>
              <a:t>Batch Mode Memory Grant Feedback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69238" y="10191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555228" y="1547853"/>
            <a:ext cx="4445637"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When compiling an execution plan, the query engine estimates how much memory is needed to store rows during join and sort oper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Too much memory allocation may impact performance of other operations. Not enough will cause a spill over to di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This feature recalculates memory on first execution and updates the cached plan.</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5107303" y="2947059"/>
            <a:ext cx="2141222" cy="154914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063082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465562" cy="1143000"/>
          </a:xfrm>
        </p:spPr>
        <p:txBody>
          <a:bodyPr/>
          <a:lstStyle/>
          <a:p>
            <a:r>
              <a:rPr lang="en-US" dirty="0"/>
              <a:t>Batch Mode Memory Grant Feedback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593714" y="2962257"/>
          <a:ext cx="2558173" cy="1545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D5048739-6050-4DB0-B474-251984ABDB6A}"/>
              </a:ext>
            </a:extLst>
          </p:cNvPr>
          <p:cNvPicPr>
            <a:picLocks noChangeAspect="1"/>
          </p:cNvPicPr>
          <p:nvPr/>
        </p:nvPicPr>
        <p:blipFill>
          <a:blip r:embed="rId8"/>
          <a:stretch>
            <a:fillRect/>
          </a:stretch>
        </p:blipFill>
        <p:spPr>
          <a:xfrm>
            <a:off x="1313103" y="1856054"/>
            <a:ext cx="7713250" cy="1545566"/>
          </a:xfrm>
          <a:prstGeom prst="rect">
            <a:avLst/>
          </a:prstGeom>
          <a:ln>
            <a:noFill/>
          </a:ln>
          <a:effectLst>
            <a:outerShdw blurRad="190500" algn="tl" rotWithShape="0">
              <a:srgbClr val="000000">
                <a:alpha val="70000"/>
              </a:srgbClr>
            </a:outerShdw>
          </a:effectLst>
        </p:spPr>
      </p:pic>
      <p:sp>
        <p:nvSpPr>
          <p:cNvPr id="10" name="Rectangle 9">
            <a:extLst>
              <a:ext uri="{FF2B5EF4-FFF2-40B4-BE49-F238E27FC236}">
                <a16:creationId xmlns:a16="http://schemas.microsoft.com/office/drawing/2014/main" id="{4A73D1DD-BF87-4515-8397-33F27CC349E5}"/>
              </a:ext>
            </a:extLst>
          </p:cNvPr>
          <p:cNvSpPr/>
          <p:nvPr/>
        </p:nvSpPr>
        <p:spPr>
          <a:xfrm>
            <a:off x="1313103" y="1191416"/>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First Execution (Spills detected; feedback generated)</a:t>
            </a:r>
          </a:p>
        </p:txBody>
      </p:sp>
      <p:pic>
        <p:nvPicPr>
          <p:cNvPr id="11" name="Picture 10">
            <a:extLst>
              <a:ext uri="{FF2B5EF4-FFF2-40B4-BE49-F238E27FC236}">
                <a16:creationId xmlns:a16="http://schemas.microsoft.com/office/drawing/2014/main" id="{7AFEAC2F-B138-4122-A69E-3976E66703F1}"/>
              </a:ext>
            </a:extLst>
          </p:cNvPr>
          <p:cNvPicPr>
            <a:picLocks noChangeAspect="1"/>
          </p:cNvPicPr>
          <p:nvPr/>
        </p:nvPicPr>
        <p:blipFill>
          <a:blip r:embed="rId9"/>
          <a:stretch>
            <a:fillRect/>
          </a:stretch>
        </p:blipFill>
        <p:spPr>
          <a:xfrm>
            <a:off x="1313103" y="2539921"/>
            <a:ext cx="2187122" cy="1057110"/>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F8E37A77-0F39-4C25-9B84-EBC715B0252D}"/>
              </a:ext>
            </a:extLst>
          </p:cNvPr>
          <p:cNvPicPr>
            <a:picLocks noChangeAspect="1"/>
          </p:cNvPicPr>
          <p:nvPr/>
        </p:nvPicPr>
        <p:blipFill>
          <a:blip r:embed="rId10"/>
          <a:stretch>
            <a:fillRect/>
          </a:stretch>
        </p:blipFill>
        <p:spPr>
          <a:xfrm>
            <a:off x="1319199" y="4375593"/>
            <a:ext cx="7727831" cy="1479953"/>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8D2B87E5-962F-47F1-B5E0-0CD2D25A9C98}"/>
              </a:ext>
            </a:extLst>
          </p:cNvPr>
          <p:cNvPicPr>
            <a:picLocks noChangeAspect="1"/>
          </p:cNvPicPr>
          <p:nvPr/>
        </p:nvPicPr>
        <p:blipFill>
          <a:blip r:embed="rId11"/>
          <a:stretch>
            <a:fillRect/>
          </a:stretch>
        </p:blipFill>
        <p:spPr>
          <a:xfrm>
            <a:off x="1319199" y="5084737"/>
            <a:ext cx="2208994" cy="976915"/>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41875811-7517-42C0-B2D0-E63073BD775F}"/>
              </a:ext>
            </a:extLst>
          </p:cNvPr>
          <p:cNvSpPr/>
          <p:nvPr/>
        </p:nvSpPr>
        <p:spPr bwMode="auto">
          <a:xfrm>
            <a:off x="2423696" y="1690643"/>
            <a:ext cx="2007794" cy="84927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F7293E5D-1366-4C68-8CFA-258550F2B4CC}"/>
              </a:ext>
            </a:extLst>
          </p:cNvPr>
          <p:cNvSpPr/>
          <p:nvPr/>
        </p:nvSpPr>
        <p:spPr>
          <a:xfrm>
            <a:off x="1319199" y="3822530"/>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Second Execution (Memory grant adjusted)</a:t>
            </a:r>
          </a:p>
        </p:txBody>
      </p:sp>
    </p:spTree>
    <p:extLst>
      <p:ext uri="{BB962C8B-B14F-4D97-AF65-F5344CB8AC3E}">
        <p14:creationId xmlns:p14="http://schemas.microsoft.com/office/powerpoint/2010/main" val="3753584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7828281"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6196807" y="4559857"/>
            <a:ext cx="2067084" cy="1504358"/>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 name="TextBox 6">
            <a:extLst>
              <a:ext uri="{FF2B5EF4-FFF2-40B4-BE49-F238E27FC236}">
                <a16:creationId xmlns:a16="http://schemas.microsoft.com/office/drawing/2014/main" id="{713AB702-27D3-464D-A86F-C85BBA841A27}"/>
              </a:ext>
            </a:extLst>
          </p:cNvPr>
          <p:cNvSpPr txBox="1"/>
          <p:nvPr/>
        </p:nvSpPr>
        <p:spPr>
          <a:xfrm>
            <a:off x="7622539" y="1692375"/>
            <a:ext cx="44742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Row Mode is just like Batch Mode, but different.</a:t>
            </a:r>
          </a:p>
        </p:txBody>
      </p:sp>
    </p:spTree>
    <p:extLst>
      <p:ext uri="{BB962C8B-B14F-4D97-AF65-F5344CB8AC3E}">
        <p14:creationId xmlns:p14="http://schemas.microsoft.com/office/powerpoint/2010/main" val="1428911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048195" y="2790176"/>
          <a:ext cx="2915599" cy="1778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ontent Placeholder 9">
            <a:extLst>
              <a:ext uri="{FF2B5EF4-FFF2-40B4-BE49-F238E27FC236}">
                <a16:creationId xmlns:a16="http://schemas.microsoft.com/office/drawing/2014/main" id="{776D5D40-AF67-42B7-82DA-71A3B852E038}"/>
              </a:ext>
            </a:extLst>
          </p:cNvPr>
          <p:cNvSpPr txBox="1">
            <a:spLocks/>
          </p:cNvSpPr>
          <p:nvPr/>
        </p:nvSpPr>
        <p:spPr>
          <a:xfrm>
            <a:off x="300036" y="1002092"/>
            <a:ext cx="10911204" cy="1030286"/>
          </a:xfrm>
          <a:prstGeom prst="rect">
            <a:avLst/>
          </a:prstGeom>
        </p:spPr>
        <p:txBody>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pands on the batch mode memory grant feedback feature by also adjusting memory grant sizes for row mode operators.</a:t>
            </a:r>
          </a:p>
          <a:p>
            <a:endParaRPr lang="en-US" dirty="0"/>
          </a:p>
          <a:p>
            <a:endParaRPr lang="en-US" dirty="0"/>
          </a:p>
        </p:txBody>
      </p:sp>
      <p:sp>
        <p:nvSpPr>
          <p:cNvPr id="9" name="Rectangle 8">
            <a:extLst>
              <a:ext uri="{FF2B5EF4-FFF2-40B4-BE49-F238E27FC236}">
                <a16:creationId xmlns:a16="http://schemas.microsoft.com/office/drawing/2014/main" id="{6C5F9812-21C7-4ED6-9B8B-A1E8077B1172}"/>
              </a:ext>
            </a:extLst>
          </p:cNvPr>
          <p:cNvSpPr/>
          <p:nvPr/>
        </p:nvSpPr>
        <p:spPr>
          <a:xfrm>
            <a:off x="497406" y="5616342"/>
            <a:ext cx="11197188" cy="461665"/>
          </a:xfrm>
          <a:prstGeom prst="rect">
            <a:avLst/>
          </a:prstGeom>
        </p:spPr>
        <p:txBody>
          <a:bodyPr wrap="square">
            <a:spAutoFit/>
          </a:bodyPr>
          <a:lstStyle/>
          <a:p>
            <a:r>
              <a:rPr lang="en-US" sz="2400" dirty="0"/>
              <a:t>Two new query plan attributes will be shown for actual post-execution plans. </a:t>
            </a:r>
          </a:p>
        </p:txBody>
      </p:sp>
      <p:pic>
        <p:nvPicPr>
          <p:cNvPr id="4" name="Picture 3">
            <a:extLst>
              <a:ext uri="{FF2B5EF4-FFF2-40B4-BE49-F238E27FC236}">
                <a16:creationId xmlns:a16="http://schemas.microsoft.com/office/drawing/2014/main" id="{97CDCD35-8391-4B8B-E837-A3039A12BB54}"/>
              </a:ext>
            </a:extLst>
          </p:cNvPr>
          <p:cNvPicPr>
            <a:picLocks noChangeAspect="1"/>
          </p:cNvPicPr>
          <p:nvPr/>
        </p:nvPicPr>
        <p:blipFill>
          <a:blip r:embed="rId8"/>
          <a:stretch>
            <a:fillRect/>
          </a:stretch>
        </p:blipFill>
        <p:spPr>
          <a:xfrm>
            <a:off x="497406" y="2187590"/>
            <a:ext cx="3054447" cy="2950906"/>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0C3287A7-0AE5-15D0-F5AF-75994F4D77A7}"/>
              </a:ext>
            </a:extLst>
          </p:cNvPr>
          <p:cNvPicPr>
            <a:picLocks noChangeAspect="1"/>
          </p:cNvPicPr>
          <p:nvPr/>
        </p:nvPicPr>
        <p:blipFill>
          <a:blip r:embed="rId9"/>
          <a:stretch>
            <a:fillRect/>
          </a:stretch>
        </p:blipFill>
        <p:spPr>
          <a:xfrm>
            <a:off x="4001770" y="2256926"/>
            <a:ext cx="4493681" cy="2844624"/>
          </a:xfrm>
          <a:prstGeom prst="rect">
            <a:avLst/>
          </a:prstGeom>
        </p:spPr>
      </p:pic>
      <p:sp>
        <p:nvSpPr>
          <p:cNvPr id="11" name="Rectangle 10">
            <a:extLst>
              <a:ext uri="{FF2B5EF4-FFF2-40B4-BE49-F238E27FC236}">
                <a16:creationId xmlns:a16="http://schemas.microsoft.com/office/drawing/2014/main" id="{B6F9569C-49E1-F443-A366-351B543FFA15}"/>
              </a:ext>
            </a:extLst>
          </p:cNvPr>
          <p:cNvSpPr/>
          <p:nvPr/>
        </p:nvSpPr>
        <p:spPr>
          <a:xfrm>
            <a:off x="4141310" y="3308689"/>
            <a:ext cx="4354142" cy="468086"/>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BF248DF-2AE3-B6FF-66FC-038E8D10D756}"/>
              </a:ext>
            </a:extLst>
          </p:cNvPr>
          <p:cNvSpPr/>
          <p:nvPr/>
        </p:nvSpPr>
        <p:spPr>
          <a:xfrm>
            <a:off x="497405" y="4474029"/>
            <a:ext cx="3054447" cy="664467"/>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8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7441660" y="4581728"/>
            <a:ext cx="2013625" cy="1399972"/>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276236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Install the Query Performance Insights library</a:t>
            </a:r>
          </a:p>
          <a:p>
            <a:r>
              <a:rPr lang="en-US" dirty="0"/>
              <a:t>Troubleshoot performance issues with QPI</a:t>
            </a:r>
          </a:p>
          <a:p>
            <a:endParaRPr lang="en-US" dirty="0"/>
          </a:p>
          <a:p>
            <a:pPr marL="0" indent="0">
              <a:buNone/>
            </a:pPr>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54052"/>
          <a:ext cx="11144474" cy="538459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981935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4" name="Picture 2" descr="Chart, line chart&#10;&#10;Description automatically generated">
            <a:extLst>
              <a:ext uri="{FF2B5EF4-FFF2-40B4-BE49-F238E27FC236}">
                <a16:creationId xmlns:a16="http://schemas.microsoft.com/office/drawing/2014/main" id="{607DD73E-E5A8-B861-475A-721584C13CB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8654" y="956733"/>
            <a:ext cx="7029628" cy="3566351"/>
          </a:xfrm>
          <a:prstGeom prst="rect">
            <a:avLst/>
          </a:prstGeom>
          <a:ln>
            <a:noFill/>
          </a:ln>
          <a:effectLst>
            <a:outerShdw blurRad="190500" algn="tl" rotWithShape="0">
              <a:srgbClr val="000000">
                <a:alpha val="70000"/>
              </a:srgbClr>
            </a:outerShdw>
          </a:effectLst>
        </p:spPr>
      </p:pic>
      <p:pic>
        <p:nvPicPr>
          <p:cNvPr id="7" name="Picture 2" descr="Chart, line chart&#10;&#10;Description automatically generated">
            <a:extLst>
              <a:ext uri="{FF2B5EF4-FFF2-40B4-BE49-F238E27FC236}">
                <a16:creationId xmlns:a16="http://schemas.microsoft.com/office/drawing/2014/main" id="{A8A61DCF-DB58-ADF9-1D34-3E1AEE6C21D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80330" y="2763756"/>
            <a:ext cx="7544179" cy="344604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5820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0DD4BF1-2ACF-38C2-F260-81A9C76CF1CF}"/>
              </a:ext>
            </a:extLst>
          </p:cNvPr>
          <p:cNvGrpSpPr/>
          <p:nvPr/>
        </p:nvGrpSpPr>
        <p:grpSpPr>
          <a:xfrm>
            <a:off x="731199" y="1630892"/>
            <a:ext cx="4493681" cy="2844624"/>
            <a:chOff x="233338" y="2120420"/>
            <a:chExt cx="4493681" cy="2844624"/>
          </a:xfrm>
        </p:grpSpPr>
        <p:pic>
          <p:nvPicPr>
            <p:cNvPr id="13" name="Picture 12">
              <a:extLst>
                <a:ext uri="{FF2B5EF4-FFF2-40B4-BE49-F238E27FC236}">
                  <a16:creationId xmlns:a16="http://schemas.microsoft.com/office/drawing/2014/main" id="{0C3287A7-0AE5-15D0-F5AF-75994F4D77A7}"/>
                </a:ext>
              </a:extLst>
            </p:cNvPr>
            <p:cNvPicPr>
              <a:picLocks noChangeAspect="1"/>
            </p:cNvPicPr>
            <p:nvPr/>
          </p:nvPicPr>
          <p:blipFill>
            <a:blip r:embed="rId3"/>
            <a:stretch>
              <a:fillRect/>
            </a:stretch>
          </p:blipFill>
          <p:spPr>
            <a:xfrm>
              <a:off x="233338" y="2120420"/>
              <a:ext cx="4493681" cy="2844624"/>
            </a:xfrm>
            <a:prstGeom prst="rect">
              <a:avLst/>
            </a:prstGeom>
            <a:ln>
              <a:noFill/>
            </a:ln>
            <a:effectLst>
              <a:outerShdw blurRad="190500" algn="tl" rotWithShape="0">
                <a:srgbClr val="000000">
                  <a:alpha val="70000"/>
                </a:srgbClr>
              </a:outerShdw>
            </a:effectLst>
          </p:spPr>
        </p:pic>
        <p:sp>
          <p:nvSpPr>
            <p:cNvPr id="15" name="Rectangle 14">
              <a:extLst>
                <a:ext uri="{FF2B5EF4-FFF2-40B4-BE49-F238E27FC236}">
                  <a16:creationId xmlns:a16="http://schemas.microsoft.com/office/drawing/2014/main" id="{ABF248DF-2AE3-B6FF-66FC-038E8D10D756}"/>
                </a:ext>
              </a:extLst>
            </p:cNvPr>
            <p:cNvSpPr/>
            <p:nvPr/>
          </p:nvSpPr>
          <p:spPr>
            <a:xfrm>
              <a:off x="233338" y="3177310"/>
              <a:ext cx="4493681" cy="461818"/>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Title 4">
            <a:extLst>
              <a:ext uri="{FF2B5EF4-FFF2-40B4-BE49-F238E27FC236}">
                <a16:creationId xmlns:a16="http://schemas.microsoft.com/office/drawing/2014/main" id="{D7E22C1C-753F-BA12-C024-E8A76E851274}"/>
              </a:ext>
            </a:extLst>
          </p:cNvPr>
          <p:cNvSpPr txBox="1">
            <a:spLocks/>
          </p:cNvSpPr>
          <p:nvPr/>
        </p:nvSpPr>
        <p:spPr>
          <a:xfrm>
            <a:off x="269238" y="26286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dirty="0"/>
              <a:t>Feedback Persistence and Percentile (2022)</a:t>
            </a:r>
          </a:p>
        </p:txBody>
      </p:sp>
      <p:grpSp>
        <p:nvGrpSpPr>
          <p:cNvPr id="16" name="Group 15">
            <a:extLst>
              <a:ext uri="{FF2B5EF4-FFF2-40B4-BE49-F238E27FC236}">
                <a16:creationId xmlns:a16="http://schemas.microsoft.com/office/drawing/2014/main" id="{8863AC2F-6021-3446-9D48-929F916E5A9C}"/>
              </a:ext>
            </a:extLst>
          </p:cNvPr>
          <p:cNvGrpSpPr/>
          <p:nvPr/>
        </p:nvGrpSpPr>
        <p:grpSpPr>
          <a:xfrm>
            <a:off x="5979196" y="1630892"/>
            <a:ext cx="4397995" cy="2989328"/>
            <a:chOff x="5063601" y="2120420"/>
            <a:chExt cx="4397995" cy="2989328"/>
          </a:xfrm>
        </p:grpSpPr>
        <p:pic>
          <p:nvPicPr>
            <p:cNvPr id="6" name="Picture 5">
              <a:extLst>
                <a:ext uri="{FF2B5EF4-FFF2-40B4-BE49-F238E27FC236}">
                  <a16:creationId xmlns:a16="http://schemas.microsoft.com/office/drawing/2014/main" id="{63477A8E-D415-4DAA-CCCD-D4EBC85EE090}"/>
                </a:ext>
              </a:extLst>
            </p:cNvPr>
            <p:cNvPicPr>
              <a:picLocks noChangeAspect="1"/>
            </p:cNvPicPr>
            <p:nvPr/>
          </p:nvPicPr>
          <p:blipFill>
            <a:blip r:embed="rId4"/>
            <a:stretch>
              <a:fillRect/>
            </a:stretch>
          </p:blipFill>
          <p:spPr>
            <a:xfrm>
              <a:off x="5063601" y="2120420"/>
              <a:ext cx="4397995" cy="2989328"/>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B6F9569C-49E1-F443-A366-351B543FFA15}"/>
                </a:ext>
              </a:extLst>
            </p:cNvPr>
            <p:cNvSpPr/>
            <p:nvPr/>
          </p:nvSpPr>
          <p:spPr>
            <a:xfrm>
              <a:off x="5203493" y="3132373"/>
              <a:ext cx="4258103" cy="468086"/>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6C530062-EE24-0F54-EEE5-318F5C2F5A66}"/>
              </a:ext>
            </a:extLst>
          </p:cNvPr>
          <p:cNvGrpSpPr/>
          <p:nvPr/>
        </p:nvGrpSpPr>
        <p:grpSpPr>
          <a:xfrm>
            <a:off x="3059725" y="3239938"/>
            <a:ext cx="5188414" cy="2921209"/>
            <a:chOff x="2791804" y="3423498"/>
            <a:chExt cx="5188414" cy="2921209"/>
          </a:xfrm>
        </p:grpSpPr>
        <p:pic>
          <p:nvPicPr>
            <p:cNvPr id="18" name="Picture 17">
              <a:extLst>
                <a:ext uri="{FF2B5EF4-FFF2-40B4-BE49-F238E27FC236}">
                  <a16:creationId xmlns:a16="http://schemas.microsoft.com/office/drawing/2014/main" id="{6EE6B918-DBDB-C2CB-44CE-6D2FFB036C6B}"/>
                </a:ext>
              </a:extLst>
            </p:cNvPr>
            <p:cNvPicPr>
              <a:picLocks noChangeAspect="1"/>
            </p:cNvPicPr>
            <p:nvPr/>
          </p:nvPicPr>
          <p:blipFill>
            <a:blip r:embed="rId5"/>
            <a:stretch>
              <a:fillRect/>
            </a:stretch>
          </p:blipFill>
          <p:spPr>
            <a:xfrm>
              <a:off x="2791804" y="3423498"/>
              <a:ext cx="5188414" cy="2921209"/>
            </a:xfrm>
            <a:prstGeom prst="rect">
              <a:avLst/>
            </a:prstGeom>
            <a:ln>
              <a:noFill/>
            </a:ln>
            <a:effectLst>
              <a:outerShdw blurRad="190500" algn="tl" rotWithShape="0">
                <a:srgbClr val="000000">
                  <a:alpha val="70000"/>
                </a:srgbClr>
              </a:outerShdw>
            </a:effectLst>
          </p:spPr>
        </p:pic>
        <p:sp>
          <p:nvSpPr>
            <p:cNvPr id="20" name="Rectangle 19">
              <a:extLst>
                <a:ext uri="{FF2B5EF4-FFF2-40B4-BE49-F238E27FC236}">
                  <a16:creationId xmlns:a16="http://schemas.microsoft.com/office/drawing/2014/main" id="{7EBD274F-ECB4-DEAD-0119-721D84607E17}"/>
                </a:ext>
              </a:extLst>
            </p:cNvPr>
            <p:cNvSpPr/>
            <p:nvPr/>
          </p:nvSpPr>
          <p:spPr>
            <a:xfrm>
              <a:off x="2809856" y="4492979"/>
              <a:ext cx="5170361" cy="468086"/>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015296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Cardinality Estimator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935375DE-06E8-94DF-EE5D-8315B58FE6EF}"/>
              </a:ext>
            </a:extLst>
          </p:cNvPr>
          <p:cNvSpPr/>
          <p:nvPr/>
        </p:nvSpPr>
        <p:spPr>
          <a:xfrm>
            <a:off x="7441660" y="2878768"/>
            <a:ext cx="2013625" cy="1399972"/>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070336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Cardinality Estimator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0849605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Degree of Parallelism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161D47A0-FBF5-5DDF-0ADD-7D8304077167}"/>
              </a:ext>
            </a:extLst>
          </p:cNvPr>
          <p:cNvSpPr/>
          <p:nvPr/>
        </p:nvSpPr>
        <p:spPr>
          <a:xfrm>
            <a:off x="9830695" y="2878768"/>
            <a:ext cx="2013625" cy="1399972"/>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237087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Degree of Parallelism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232376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Feature Family</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252919"/>
          <a:ext cx="11922762" cy="71109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22</a:t>
            </a:r>
          </a:p>
        </p:txBody>
      </p:sp>
    </p:spTree>
    <p:extLst>
      <p:ext uri="{BB962C8B-B14F-4D97-AF65-F5344CB8AC3E}">
        <p14:creationId xmlns:p14="http://schemas.microsoft.com/office/powerpoint/2010/main" val="18744671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7155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024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Table Variable Deferred Compilation</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714375" y="2683404"/>
            <a:ext cx="2447925" cy="169545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C416F9E-0893-427B-8BF2-DB0FA3420F3C}"/>
              </a:ext>
            </a:extLst>
          </p:cNvPr>
          <p:cNvSpPr txBox="1"/>
          <p:nvPr/>
        </p:nvSpPr>
        <p:spPr>
          <a:xfrm>
            <a:off x="535939" y="4673448"/>
            <a:ext cx="855091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Queries that contain table variables will defer the compilation of the execution plan until the first execution of the query statement. This allows the execution plan to use the actual cardinality of the table variable instead of a one row guess.</a:t>
            </a:r>
          </a:p>
        </p:txBody>
      </p:sp>
    </p:spTree>
    <p:extLst>
      <p:ext uri="{BB962C8B-B14F-4D97-AF65-F5344CB8AC3E}">
        <p14:creationId xmlns:p14="http://schemas.microsoft.com/office/powerpoint/2010/main" val="1410081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Know how to troubleshoot the performance of your queries by using Query Performance Insight.</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on Rowstore Indexe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3476625" y="2692929"/>
            <a:ext cx="2447925" cy="169545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 name="TextBox 3">
            <a:extLst>
              <a:ext uri="{FF2B5EF4-FFF2-40B4-BE49-F238E27FC236}">
                <a16:creationId xmlns:a16="http://schemas.microsoft.com/office/drawing/2014/main" id="{E6430C58-093A-4AFE-BB22-05DFA72C3484}"/>
              </a:ext>
            </a:extLst>
          </p:cNvPr>
          <p:cNvSpPr txBox="1"/>
          <p:nvPr/>
        </p:nvSpPr>
        <p:spPr>
          <a:xfrm>
            <a:off x="425131" y="4932426"/>
            <a:ext cx="85509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Allows batch mode execution for analytic workloads without requiring columnstore indexes.</a:t>
            </a:r>
          </a:p>
        </p:txBody>
      </p:sp>
    </p:spTree>
    <p:extLst>
      <p:ext uri="{BB962C8B-B14F-4D97-AF65-F5344CB8AC3E}">
        <p14:creationId xmlns:p14="http://schemas.microsoft.com/office/powerpoint/2010/main" val="430817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Scalar User-Defined Function Inlin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6248400" y="2692929"/>
            <a:ext cx="2447925" cy="169545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94F58D94-351C-5094-FC45-35C60401E803}"/>
              </a:ext>
            </a:extLst>
          </p:cNvPr>
          <p:cNvSpPr txBox="1"/>
          <p:nvPr/>
        </p:nvSpPr>
        <p:spPr>
          <a:xfrm>
            <a:off x="863056" y="4731769"/>
            <a:ext cx="812446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Scalar UDFs are automatically transformed into scalar expressions or scalar subqueries that are substituted in the calling query in place of the UDF operator. </a:t>
            </a:r>
          </a:p>
        </p:txBody>
      </p:sp>
    </p:spTree>
    <p:extLst>
      <p:ext uri="{BB962C8B-B14F-4D97-AF65-F5344CB8AC3E}">
        <p14:creationId xmlns:p14="http://schemas.microsoft.com/office/powerpoint/2010/main" val="4109501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Query Process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2683404"/>
            <a:ext cx="2447925" cy="169545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 name="TextBox 3">
            <a:extLst>
              <a:ext uri="{FF2B5EF4-FFF2-40B4-BE49-F238E27FC236}">
                <a16:creationId xmlns:a16="http://schemas.microsoft.com/office/drawing/2014/main" id="{C9EDD544-CEFF-42F5-910A-8566AE4C25FC}"/>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Approximate Query Processing is a new feature family that will be used to aggregate large datasets where performance is more critical than absolute precision. </a:t>
            </a:r>
          </a:p>
        </p:txBody>
      </p:sp>
    </p:spTree>
    <p:extLst>
      <p:ext uri="{BB962C8B-B14F-4D97-AF65-F5344CB8AC3E}">
        <p14:creationId xmlns:p14="http://schemas.microsoft.com/office/powerpoint/2010/main" val="2261330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4664604"/>
            <a:ext cx="2447925" cy="169545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 name="TextBox 3">
            <a:extLst>
              <a:ext uri="{FF2B5EF4-FFF2-40B4-BE49-F238E27FC236}">
                <a16:creationId xmlns:a16="http://schemas.microsoft.com/office/drawing/2014/main" id="{5B60C5A0-9C0F-437B-BD2B-3F52C33A284B}"/>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A new aggregate function APPROX_COUNT_DISTINCT that returns the approximate number of unique non-null values in a group.</a:t>
            </a:r>
          </a:p>
        </p:txBody>
      </p:sp>
    </p:spTree>
    <p:extLst>
      <p:ext uri="{BB962C8B-B14F-4D97-AF65-F5344CB8AC3E}">
        <p14:creationId xmlns:p14="http://schemas.microsoft.com/office/powerpoint/2010/main" val="2347963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8773886" y="1999510"/>
          <a:ext cx="3239952" cy="2133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C6EE4756-F8B4-493D-A59B-1C26402F5432}"/>
              </a:ext>
            </a:extLst>
          </p:cNvPr>
          <p:cNvSpPr/>
          <p:nvPr/>
        </p:nvSpPr>
        <p:spPr>
          <a:xfrm>
            <a:off x="315275" y="5048503"/>
            <a:ext cx="10880725" cy="849338"/>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APPROX_COUNT_DISTINC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_OrderKe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pprox_Distinct_OrderKey</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dbo</a:t>
            </a:r>
            <a:r>
              <a:rPr kumimoji="0" lang="en-US" sz="18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rder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aphicFrame>
        <p:nvGraphicFramePr>
          <p:cNvPr id="9" name="Diagram 8">
            <a:extLst>
              <a:ext uri="{FF2B5EF4-FFF2-40B4-BE49-F238E27FC236}">
                <a16:creationId xmlns:a16="http://schemas.microsoft.com/office/drawing/2014/main" id="{15BC3B75-C13E-4A15-9A5E-0CA51E61AC18}"/>
              </a:ext>
            </a:extLst>
          </p:cNvPr>
          <p:cNvGraphicFramePr/>
          <p:nvPr/>
        </p:nvGraphicFramePr>
        <p:xfrm>
          <a:off x="269238" y="1029810"/>
          <a:ext cx="8036562" cy="37849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31864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622748" y="4702772"/>
            <a:ext cx="2249994" cy="156966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 name="TextBox 6">
            <a:extLst>
              <a:ext uri="{FF2B5EF4-FFF2-40B4-BE49-F238E27FC236}">
                <a16:creationId xmlns:a16="http://schemas.microsoft.com/office/drawing/2014/main" id="{540E49BA-7CBD-46AE-D33C-39CEF811F0A8}"/>
              </a:ext>
            </a:extLst>
          </p:cNvPr>
          <p:cNvSpPr txBox="1"/>
          <p:nvPr/>
        </p:nvSpPr>
        <p:spPr>
          <a:xfrm>
            <a:off x="269238" y="4819471"/>
            <a:ext cx="685800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An aggregate function APPROX_PERCENT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mn-cs"/>
              </a:rPr>
              <a:t>that returns the approximate percentage of unique non-null values in a group.</a:t>
            </a:r>
          </a:p>
        </p:txBody>
      </p:sp>
    </p:spTree>
    <p:extLst>
      <p:ext uri="{BB962C8B-B14F-4D97-AF65-F5344CB8AC3E}">
        <p14:creationId xmlns:p14="http://schemas.microsoft.com/office/powerpoint/2010/main" val="37402357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B68DA2F8-C18C-0B52-2F15-754E56F99CB5}"/>
              </a:ext>
            </a:extLst>
          </p:cNvPr>
          <p:cNvSpPr/>
          <p:nvPr/>
        </p:nvSpPr>
        <p:spPr>
          <a:xfrm>
            <a:off x="8073957" y="2840668"/>
            <a:ext cx="1867711" cy="1361681"/>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8681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65331"/>
          <a:ext cx="11144474" cy="22587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6" name="Diagram 5">
            <a:extLst>
              <a:ext uri="{FF2B5EF4-FFF2-40B4-BE49-F238E27FC236}">
                <a16:creationId xmlns:a16="http://schemas.microsoft.com/office/drawing/2014/main" id="{16222040-5B02-D4C9-1C1B-7A1A92385BB6}"/>
              </a:ext>
            </a:extLst>
          </p:cNvPr>
          <p:cNvGraphicFramePr/>
          <p:nvPr/>
        </p:nvGraphicFramePr>
        <p:xfrm>
          <a:off x="2449648" y="3135328"/>
          <a:ext cx="6862398" cy="342444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629753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338894" y="932329"/>
          <a:ext cx="11144474" cy="517263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793019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Parameter Sensitive Plan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F52BB2AC-E1A5-04D5-C378-D35B5611729C}"/>
              </a:ext>
            </a:extLst>
          </p:cNvPr>
          <p:cNvSpPr/>
          <p:nvPr/>
        </p:nvSpPr>
        <p:spPr>
          <a:xfrm>
            <a:off x="10087583" y="2859813"/>
            <a:ext cx="1867711" cy="1361681"/>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0343838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Query Performance Insight </a:t>
            </a:r>
          </a:p>
        </p:txBody>
      </p:sp>
      <p:graphicFrame>
        <p:nvGraphicFramePr>
          <p:cNvPr id="10" name="Diagram 9">
            <a:extLst>
              <a:ext uri="{FF2B5EF4-FFF2-40B4-BE49-F238E27FC236}">
                <a16:creationId xmlns:a16="http://schemas.microsoft.com/office/drawing/2014/main" id="{D5EAC6A8-9722-4E31-8B79-B50329DB279B}"/>
              </a:ext>
            </a:extLst>
          </p:cNvPr>
          <p:cNvGraphicFramePr/>
          <p:nvPr/>
        </p:nvGraphicFramePr>
        <p:xfrm>
          <a:off x="655635" y="3873557"/>
          <a:ext cx="2875668" cy="2650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3ACCC232-D855-496E-921D-04B15B99824B}"/>
              </a:ext>
            </a:extLst>
          </p:cNvPr>
          <p:cNvPicPr>
            <a:picLocks noChangeAspect="1"/>
          </p:cNvPicPr>
          <p:nvPr/>
        </p:nvPicPr>
        <p:blipFill>
          <a:blip r:embed="rId8"/>
          <a:stretch>
            <a:fillRect/>
          </a:stretch>
        </p:blipFill>
        <p:spPr>
          <a:xfrm>
            <a:off x="1161388" y="1472865"/>
            <a:ext cx="1837200" cy="1701390"/>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D47F6E10-BF55-463D-B0D1-3405228B8608}"/>
              </a:ext>
            </a:extLst>
          </p:cNvPr>
          <p:cNvPicPr>
            <a:picLocks noChangeAspect="1"/>
          </p:cNvPicPr>
          <p:nvPr/>
        </p:nvPicPr>
        <p:blipFill>
          <a:blip r:embed="rId9"/>
          <a:stretch>
            <a:fillRect/>
          </a:stretch>
        </p:blipFill>
        <p:spPr>
          <a:xfrm>
            <a:off x="3599311" y="1472865"/>
            <a:ext cx="5693590" cy="3876698"/>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298917CB-7317-4964-958E-375D61944BC5}"/>
              </a:ext>
            </a:extLst>
          </p:cNvPr>
          <p:cNvPicPr>
            <a:picLocks noChangeAspect="1"/>
          </p:cNvPicPr>
          <p:nvPr/>
        </p:nvPicPr>
        <p:blipFill>
          <a:blip r:embed="rId10"/>
          <a:stretch>
            <a:fillRect/>
          </a:stretch>
        </p:blipFill>
        <p:spPr>
          <a:xfrm>
            <a:off x="4559687" y="1816972"/>
            <a:ext cx="5693590" cy="3669428"/>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D1D05198-17EC-49D9-B891-B9C9044BE6BF}"/>
              </a:ext>
            </a:extLst>
          </p:cNvPr>
          <p:cNvPicPr>
            <a:picLocks noChangeAspect="1"/>
          </p:cNvPicPr>
          <p:nvPr/>
        </p:nvPicPr>
        <p:blipFill>
          <a:blip r:embed="rId11"/>
          <a:stretch>
            <a:fillRect/>
          </a:stretch>
        </p:blipFill>
        <p:spPr>
          <a:xfrm>
            <a:off x="5844685" y="2284450"/>
            <a:ext cx="5759687" cy="3982666"/>
          </a:xfrm>
          <a:prstGeom prst="rect">
            <a:avLst/>
          </a:prstGeom>
          <a:ln>
            <a:noFill/>
          </a:ln>
          <a:effectLst>
            <a:outerShdw blurRad="190500" algn="tl" rotWithShape="0">
              <a:srgbClr val="000000">
                <a:alpha val="70000"/>
              </a:srgbClr>
            </a:outerShdw>
          </a:effectLst>
        </p:spPr>
      </p:pic>
      <p:graphicFrame>
        <p:nvGraphicFramePr>
          <p:cNvPr id="11" name="Diagram 10">
            <a:extLst>
              <a:ext uri="{FF2B5EF4-FFF2-40B4-BE49-F238E27FC236}">
                <a16:creationId xmlns:a16="http://schemas.microsoft.com/office/drawing/2014/main" id="{BB2A9627-6D4C-4BB6-8CDD-DF361F1B3158}"/>
              </a:ext>
            </a:extLst>
          </p:cNvPr>
          <p:cNvGraphicFramePr/>
          <p:nvPr/>
        </p:nvGraphicFramePr>
        <p:xfrm>
          <a:off x="653724" y="3748495"/>
          <a:ext cx="3013595" cy="250947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14704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Graphic spid="11" grpId="0">
        <p:bldAsOne/>
      </p:bldGraphic>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arameter Sensitive Plans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54052"/>
          <a:ext cx="11144474" cy="547091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124120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pic>
        <p:nvPicPr>
          <p:cNvPr id="8" name="Picture 7">
            <a:extLst>
              <a:ext uri="{FF2B5EF4-FFF2-40B4-BE49-F238E27FC236}">
                <a16:creationId xmlns:a16="http://schemas.microsoft.com/office/drawing/2014/main" id="{632CFDDA-31A4-4D8D-B337-508FE0EF355D}"/>
              </a:ext>
            </a:extLst>
          </p:cNvPr>
          <p:cNvPicPr>
            <a:picLocks noChangeAspect="1"/>
          </p:cNvPicPr>
          <p:nvPr/>
        </p:nvPicPr>
        <p:blipFill>
          <a:blip r:embed="rId2"/>
          <a:stretch>
            <a:fillRect/>
          </a:stretch>
        </p:blipFill>
        <p:spPr>
          <a:xfrm>
            <a:off x="1081971" y="2613308"/>
            <a:ext cx="6920717" cy="2736304"/>
          </a:xfrm>
          <a:prstGeom prst="rect">
            <a:avLst/>
          </a:prstGeom>
        </p:spPr>
      </p:pic>
      <p:graphicFrame>
        <p:nvGraphicFramePr>
          <p:cNvPr id="13" name="Diagram 12">
            <a:extLst>
              <a:ext uri="{FF2B5EF4-FFF2-40B4-BE49-F238E27FC236}">
                <a16:creationId xmlns:a16="http://schemas.microsoft.com/office/drawing/2014/main" id="{5ECFD59C-8212-4765-962C-8E632E8B19C4}"/>
              </a:ext>
            </a:extLst>
          </p:cNvPr>
          <p:cNvGraphicFramePr/>
          <p:nvPr/>
        </p:nvGraphicFramePr>
        <p:xfrm>
          <a:off x="591850" y="1508978"/>
          <a:ext cx="4715107" cy="8697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Picture 14">
            <a:extLst>
              <a:ext uri="{FF2B5EF4-FFF2-40B4-BE49-F238E27FC236}">
                <a16:creationId xmlns:a16="http://schemas.microsoft.com/office/drawing/2014/main" id="{3BF1F9F1-3DF5-46A9-8A41-F4F80D315B0B}"/>
              </a:ext>
            </a:extLst>
          </p:cNvPr>
          <p:cNvPicPr>
            <a:picLocks noChangeAspect="1"/>
          </p:cNvPicPr>
          <p:nvPr/>
        </p:nvPicPr>
        <p:blipFill>
          <a:blip r:embed="rId8"/>
          <a:stretch>
            <a:fillRect/>
          </a:stretch>
        </p:blipFill>
        <p:spPr>
          <a:xfrm>
            <a:off x="8616280" y="3086100"/>
            <a:ext cx="2114550" cy="685800"/>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842BD23D-7046-F478-BD70-5BCE387DA7DB}"/>
              </a:ext>
            </a:extLst>
          </p:cNvPr>
          <p:cNvSpPr txBox="1"/>
          <p:nvPr/>
        </p:nvSpPr>
        <p:spPr>
          <a:xfrm>
            <a:off x="5126182" y="6246911"/>
            <a:ext cx="667789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is example was borrowed from Pedro Lopes @SQLPedro</a:t>
            </a:r>
          </a:p>
        </p:txBody>
      </p:sp>
    </p:spTree>
    <p:extLst>
      <p:ext uri="{BB962C8B-B14F-4D97-AF65-F5344CB8AC3E}">
        <p14:creationId xmlns:p14="http://schemas.microsoft.com/office/powerpoint/2010/main" val="13482946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8CE43A7-6A27-4FB9-9181-8EA3A043B294}"/>
              </a:ext>
            </a:extLst>
          </p:cNvPr>
          <p:cNvPicPr>
            <a:picLocks noChangeAspect="1"/>
          </p:cNvPicPr>
          <p:nvPr/>
        </p:nvPicPr>
        <p:blipFill>
          <a:blip r:embed="rId2"/>
          <a:stretch>
            <a:fillRect/>
          </a:stretch>
        </p:blipFill>
        <p:spPr>
          <a:xfrm>
            <a:off x="591849" y="1927336"/>
            <a:ext cx="8478348" cy="2653792"/>
          </a:xfrm>
          <a:prstGeom prst="rect">
            <a:avLst/>
          </a:prstGeom>
        </p:spPr>
      </p:pic>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graphicFrame>
        <p:nvGraphicFramePr>
          <p:cNvPr id="13" name="Diagram 12">
            <a:extLst>
              <a:ext uri="{FF2B5EF4-FFF2-40B4-BE49-F238E27FC236}">
                <a16:creationId xmlns:a16="http://schemas.microsoft.com/office/drawing/2014/main" id="{5ECFD59C-8212-4765-962C-8E632E8B19C4}"/>
              </a:ext>
            </a:extLst>
          </p:cNvPr>
          <p:cNvGraphicFramePr/>
          <p:nvPr/>
        </p:nvGraphicFramePr>
        <p:xfrm>
          <a:off x="591850" y="1124744"/>
          <a:ext cx="4715107" cy="5875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52FAB2A8-9EAC-45CA-986A-5D25EA0DEB9D}"/>
              </a:ext>
            </a:extLst>
          </p:cNvPr>
          <p:cNvPicPr>
            <a:picLocks noChangeAspect="1"/>
          </p:cNvPicPr>
          <p:nvPr/>
        </p:nvPicPr>
        <p:blipFill>
          <a:blip r:embed="rId8"/>
          <a:stretch>
            <a:fillRect/>
          </a:stretch>
        </p:blipFill>
        <p:spPr>
          <a:xfrm>
            <a:off x="591849" y="4942321"/>
            <a:ext cx="7900212" cy="1312208"/>
          </a:xfrm>
          <a:prstGeom prst="rect">
            <a:avLst/>
          </a:prstGeom>
        </p:spPr>
      </p:pic>
      <p:pic>
        <p:nvPicPr>
          <p:cNvPr id="6" name="Picture 5">
            <a:extLst>
              <a:ext uri="{FF2B5EF4-FFF2-40B4-BE49-F238E27FC236}">
                <a16:creationId xmlns:a16="http://schemas.microsoft.com/office/drawing/2014/main" id="{2875421E-9E19-4524-BB54-6E73EDBD2519}"/>
              </a:ext>
            </a:extLst>
          </p:cNvPr>
          <p:cNvPicPr>
            <a:picLocks noChangeAspect="1"/>
          </p:cNvPicPr>
          <p:nvPr/>
        </p:nvPicPr>
        <p:blipFill>
          <a:blip r:embed="rId9"/>
          <a:stretch>
            <a:fillRect/>
          </a:stretch>
        </p:blipFill>
        <p:spPr>
          <a:xfrm>
            <a:off x="9785122" y="5250763"/>
            <a:ext cx="2105025" cy="695325"/>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D31D6525-8FBE-40E9-89A0-14B8E637B12C}"/>
              </a:ext>
            </a:extLst>
          </p:cNvPr>
          <p:cNvPicPr>
            <a:picLocks noChangeAspect="1"/>
          </p:cNvPicPr>
          <p:nvPr/>
        </p:nvPicPr>
        <p:blipFill>
          <a:blip r:embed="rId10"/>
          <a:stretch>
            <a:fillRect/>
          </a:stretch>
        </p:blipFill>
        <p:spPr>
          <a:xfrm>
            <a:off x="9785121" y="2587870"/>
            <a:ext cx="2095500" cy="6762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7720038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9762720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Predicate Selec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393577" y="912067"/>
          <a:ext cx="11404845" cy="509188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9602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711781-3D89-4CF2-9978-C1AEC1904D21}"/>
              </a:ext>
            </a:extLst>
          </p:cNvPr>
          <p:cNvPicPr>
            <a:picLocks noChangeAspect="1"/>
          </p:cNvPicPr>
          <p:nvPr/>
        </p:nvPicPr>
        <p:blipFill>
          <a:blip r:embed="rId3"/>
          <a:stretch>
            <a:fillRect/>
          </a:stretch>
        </p:blipFill>
        <p:spPr>
          <a:xfrm>
            <a:off x="175491" y="1830280"/>
            <a:ext cx="11319929" cy="3529528"/>
          </a:xfrm>
          <a:prstGeom prst="rect">
            <a:avLst/>
          </a:prstGeom>
        </p:spPr>
      </p:pic>
      <p:sp>
        <p:nvSpPr>
          <p:cNvPr id="6" name="Title 4">
            <a:extLst>
              <a:ext uri="{FF2B5EF4-FFF2-40B4-BE49-F238E27FC236}">
                <a16:creationId xmlns:a16="http://schemas.microsoft.com/office/drawing/2014/main" id="{4FA3EBD2-EF8B-9420-006B-FAF87D1C6078}"/>
              </a:ext>
            </a:extLst>
          </p:cNvPr>
          <p:cNvSpPr>
            <a:spLocks noGrp="1"/>
          </p:cNvSpPr>
          <p:nvPr>
            <p:ph type="title"/>
          </p:nvPr>
        </p:nvSpPr>
        <p:spPr>
          <a:xfrm>
            <a:off x="588963" y="457200"/>
            <a:ext cx="11017250" cy="554038"/>
          </a:xfrm>
        </p:spPr>
        <p:txBody>
          <a:bodyPr/>
          <a:lstStyle/>
          <a:p>
            <a:r>
              <a:rPr lang="en-US" dirty="0"/>
              <a:t>Boundary Value Selection (Dispatcher Plan)</a:t>
            </a:r>
          </a:p>
        </p:txBody>
      </p:sp>
    </p:spTree>
    <p:extLst>
      <p:ext uri="{BB962C8B-B14F-4D97-AF65-F5344CB8AC3E}">
        <p14:creationId xmlns:p14="http://schemas.microsoft.com/office/powerpoint/2010/main" val="99325650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Feature Family</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252919"/>
          <a:ext cx="11922762" cy="71109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22</a:t>
            </a:r>
          </a:p>
        </p:txBody>
      </p:sp>
    </p:spTree>
    <p:extLst>
      <p:ext uri="{BB962C8B-B14F-4D97-AF65-F5344CB8AC3E}">
        <p14:creationId xmlns:p14="http://schemas.microsoft.com/office/powerpoint/2010/main" val="3397618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Viewing individual query details</a:t>
            </a:r>
          </a:p>
        </p:txBody>
      </p:sp>
      <p:graphicFrame>
        <p:nvGraphicFramePr>
          <p:cNvPr id="6" name="Content Placeholder 5">
            <a:extLst>
              <a:ext uri="{FF2B5EF4-FFF2-40B4-BE49-F238E27FC236}">
                <a16:creationId xmlns:a16="http://schemas.microsoft.com/office/drawing/2014/main" id="{B187D2B8-00D1-46F0-B160-E03EE7009F12}"/>
              </a:ext>
            </a:extLst>
          </p:cNvPr>
          <p:cNvGraphicFramePr>
            <a:graphicFrameLocks noGrp="1"/>
          </p:cNvGraphicFramePr>
          <p:nvPr>
            <p:ph sz="quarter" idx="13"/>
          </p:nvPr>
        </p:nvGraphicFramePr>
        <p:xfrm>
          <a:off x="655638" y="1408114"/>
          <a:ext cx="361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342A64F0-44CE-462B-AF07-B84DD95C6CFB}"/>
              </a:ext>
            </a:extLst>
          </p:cNvPr>
          <p:cNvPicPr>
            <a:picLocks noChangeAspect="1"/>
          </p:cNvPicPr>
          <p:nvPr/>
        </p:nvPicPr>
        <p:blipFill>
          <a:blip r:embed="rId8"/>
          <a:stretch>
            <a:fillRect/>
          </a:stretch>
        </p:blipFill>
        <p:spPr>
          <a:xfrm>
            <a:off x="4812405" y="2819400"/>
            <a:ext cx="6585490" cy="1654365"/>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14064EE2-590E-4305-AF66-31E99D8DD2F3}"/>
              </a:ext>
            </a:extLst>
          </p:cNvPr>
          <p:cNvPicPr>
            <a:picLocks noChangeAspect="1"/>
          </p:cNvPicPr>
          <p:nvPr/>
        </p:nvPicPr>
        <p:blipFill>
          <a:blip r:embed="rId9"/>
          <a:stretch>
            <a:fillRect/>
          </a:stretch>
        </p:blipFill>
        <p:spPr>
          <a:xfrm>
            <a:off x="6324600" y="1413293"/>
            <a:ext cx="4080547" cy="429982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34993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10"/>
                                        <p:tgtEl>
                                          <p:spTgt spid="4"/>
                                        </p:tgtEl>
                                      </p:cBhvr>
                                    </p:animEffect>
                                    <p:set>
                                      <p:cBhvr>
                                        <p:cTn id="12" dur="1" fill="hold">
                                          <p:stCondLst>
                                            <p:cond delay="9"/>
                                          </p:stCondLst>
                                        </p:cTn>
                                        <p:tgtEl>
                                          <p:spTgt spid="4"/>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Review top queries per duration</a:t>
            </a:r>
          </a:p>
        </p:txBody>
      </p:sp>
      <p:graphicFrame>
        <p:nvGraphicFramePr>
          <p:cNvPr id="5" name="Content Placeholder 4">
            <a:extLst>
              <a:ext uri="{FF2B5EF4-FFF2-40B4-BE49-F238E27FC236}">
                <a16:creationId xmlns:a16="http://schemas.microsoft.com/office/drawing/2014/main" id="{67E0064F-14FA-4931-A72C-84EF365292B9}"/>
              </a:ext>
            </a:extLst>
          </p:cNvPr>
          <p:cNvGraphicFramePr>
            <a:graphicFrameLocks noGrp="1"/>
          </p:cNvGraphicFramePr>
          <p:nvPr>
            <p:ph sz="quarter" idx="13"/>
          </p:nvPr>
        </p:nvGraphicFramePr>
        <p:xfrm>
          <a:off x="655638" y="1408114"/>
          <a:ext cx="5668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9E9EB7E8-B366-49C7-A6FE-20E7361D3403}"/>
              </a:ext>
            </a:extLst>
          </p:cNvPr>
          <p:cNvPicPr>
            <a:picLocks noChangeAspect="1"/>
          </p:cNvPicPr>
          <p:nvPr/>
        </p:nvPicPr>
        <p:blipFill>
          <a:blip r:embed="rId8"/>
          <a:stretch>
            <a:fillRect/>
          </a:stretch>
        </p:blipFill>
        <p:spPr>
          <a:xfrm>
            <a:off x="6629400" y="1981200"/>
            <a:ext cx="4906962" cy="3683322"/>
          </a:xfrm>
          <a:prstGeom prst="rect">
            <a:avLst/>
          </a:prstGeom>
        </p:spPr>
      </p:pic>
    </p:spTree>
    <p:extLst>
      <p:ext uri="{BB962C8B-B14F-4D97-AF65-F5344CB8AC3E}">
        <p14:creationId xmlns:p14="http://schemas.microsoft.com/office/powerpoint/2010/main" val="1920859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Review top queries per execution count</a:t>
            </a:r>
          </a:p>
        </p:txBody>
      </p:sp>
      <p:pic>
        <p:nvPicPr>
          <p:cNvPr id="4" name="Picture 3">
            <a:extLst>
              <a:ext uri="{FF2B5EF4-FFF2-40B4-BE49-F238E27FC236}">
                <a16:creationId xmlns:a16="http://schemas.microsoft.com/office/drawing/2014/main" id="{532B731F-72F8-4CF3-808D-4B1B52E2047E}"/>
              </a:ext>
            </a:extLst>
          </p:cNvPr>
          <p:cNvPicPr>
            <a:picLocks noChangeAspect="1"/>
          </p:cNvPicPr>
          <p:nvPr/>
        </p:nvPicPr>
        <p:blipFill>
          <a:blip r:embed="rId3"/>
          <a:stretch>
            <a:fillRect/>
          </a:stretch>
        </p:blipFill>
        <p:spPr>
          <a:xfrm>
            <a:off x="6625481" y="1905000"/>
            <a:ext cx="4898002" cy="3918401"/>
          </a:xfrm>
          <a:prstGeom prst="rect">
            <a:avLst/>
          </a:prstGeom>
        </p:spPr>
      </p:pic>
      <p:graphicFrame>
        <p:nvGraphicFramePr>
          <p:cNvPr id="5" name="Content Placeholder 4">
            <a:extLst>
              <a:ext uri="{FF2B5EF4-FFF2-40B4-BE49-F238E27FC236}">
                <a16:creationId xmlns:a16="http://schemas.microsoft.com/office/drawing/2014/main" id="{C35CF6CD-E42C-44A4-897D-C341A518C6E3}"/>
              </a:ext>
            </a:extLst>
          </p:cNvPr>
          <p:cNvGraphicFramePr>
            <a:graphicFrameLocks/>
          </p:cNvGraphicFramePr>
          <p:nvPr/>
        </p:nvGraphicFramePr>
        <p:xfrm>
          <a:off x="655638" y="1408114"/>
          <a:ext cx="56689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829384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f15d768-aaeb-472a-a613-08046adda187"/>
  <p:tag name="MIO_EKGUID" val="66b2b442-327e-43dd-bd4d-df915862f5d3"/>
  <p:tag name="MIO_UPDATE" val="True"/>
  <p:tag name="MIO_VERSION" val="30.03.2020 15:44:05"/>
  <p:tag name="MIO_DBID" val="12b0c59e-2253-4124-a5e9-470adf4cb168"/>
  <p:tag name="MIO_LASTDOWNLOADED" val="30.03.2020 15:44:51"/>
  <p:tag name="MIO_OBJECTNAME" val="Learning Units covered in this Module"/>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5.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8.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66b6bb9-0c3b-4baf-b7e0-24038b18f231">
      <UserInfo>
        <DisplayName>Christian Keller</DisplayName>
        <AccountId>2911</AccountId>
        <AccountType/>
      </UserInfo>
    </SharedWithUsers>
    <MediaServiceKeyPoints xmlns="6cd3d847-4521-4863-8800-2cff076dfc18"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E7EBEF02-C69B-46E0-B38A-E51611CE5254}">
  <ds:schemaRefs>
    <ds:schemaRef ds:uri="Strauss.PersonalizationDefinition"/>
  </ds:schemaRefs>
</ds:datastoreItem>
</file>

<file path=customXml/itemProps10.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11.xml><?xml version="1.0" encoding="utf-8"?>
<ds:datastoreItem xmlns:ds="http://schemas.openxmlformats.org/officeDocument/2006/customXml" ds:itemID="{EBCC33FC-94BB-4B1D-A4C6-D2E6A3A4B1FD}">
  <ds:schemaRefs>
    <ds:schemaRef ds:uri="Strauss.PersonalizationDefinition"/>
  </ds:schemaRefs>
</ds:datastoreItem>
</file>

<file path=customXml/itemProps12.xml><?xml version="1.0" encoding="utf-8"?>
<ds:datastoreItem xmlns:ds="http://schemas.openxmlformats.org/officeDocument/2006/customXml" ds:itemID="{406127A5-B8F7-4F8A-95A9-8E20F72EA129}">
  <ds:schemaRefs>
    <ds:schemaRef ds:uri="Strauss.PersonalizationDefinition"/>
  </ds:schemaRefs>
</ds:datastoreItem>
</file>

<file path=customXml/itemProps13.xml><?xml version="1.0" encoding="utf-8"?>
<ds:datastoreItem xmlns:ds="http://schemas.openxmlformats.org/officeDocument/2006/customXml" ds:itemID="{6552B3D2-5F72-49FB-8B35-AFE12BF36804}">
  <ds:schemaRefs>
    <ds:schemaRef ds:uri="Strauss.PersonalizationDefinition"/>
  </ds:schemaRefs>
</ds:datastoreItem>
</file>

<file path=customXml/itemProps14.xml><?xml version="1.0" encoding="utf-8"?>
<ds:datastoreItem xmlns:ds="http://schemas.openxmlformats.org/officeDocument/2006/customXml" ds:itemID="{F56EB5D8-3CD5-48EE-9536-13CF2B9AC25D}">
  <ds:schemaRefs>
    <ds:schemaRef ds:uri="Strauss.PersonalizationDefinition"/>
  </ds:schemaRefs>
</ds:datastoreItem>
</file>

<file path=customXml/itemProps15.xml><?xml version="1.0" encoding="utf-8"?>
<ds:datastoreItem xmlns:ds="http://schemas.openxmlformats.org/officeDocument/2006/customXml" ds:itemID="{6F485757-9F3C-4A1E-9E86-E1C1551910BA}">
  <ds:schemaRefs>
    <ds:schemaRef ds:uri="Strauss.PersonalizationDefinition"/>
  </ds:schemaRefs>
</ds:datastoreItem>
</file>

<file path=customXml/itemProps16.xml><?xml version="1.0" encoding="utf-8"?>
<ds:datastoreItem xmlns:ds="http://schemas.openxmlformats.org/officeDocument/2006/customXml" ds:itemID="{32920470-F086-4197-B6FE-12027DE25DCC}">
  <ds:schemaRefs>
    <ds:schemaRef ds:uri="Strauss.PersonalizationDefinition"/>
  </ds:schemaRefs>
</ds:datastoreItem>
</file>

<file path=customXml/itemProps17.xml><?xml version="1.0" encoding="utf-8"?>
<ds:datastoreItem xmlns:ds="http://schemas.openxmlformats.org/officeDocument/2006/customXml" ds:itemID="{D7FDC28F-4CBD-40ED-9D33-0A1360D5DEC4}">
  <ds:schemaRefs>
    <ds:schemaRef ds:uri="Strauss.PersonalizationDefinition"/>
  </ds:schemaRefs>
</ds:datastoreItem>
</file>

<file path=customXml/itemProps18.xml><?xml version="1.0" encoding="utf-8"?>
<ds:datastoreItem xmlns:ds="http://schemas.openxmlformats.org/officeDocument/2006/customXml" ds:itemID="{99655354-93B8-4D51-AD11-798C1A5AC9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9.xml><?xml version="1.0" encoding="utf-8"?>
<ds:datastoreItem xmlns:ds="http://schemas.openxmlformats.org/officeDocument/2006/customXml" ds:itemID="{39E6036D-85B6-48FE-9018-5681955F514E}">
  <ds:schemaRefs>
    <ds:schemaRef ds:uri="Strauss.PersonalizationDefinition"/>
  </ds:schemaRefs>
</ds:datastoreItem>
</file>

<file path=customXml/itemProps2.xml><?xml version="1.0" encoding="utf-8"?>
<ds:datastoreItem xmlns:ds="http://schemas.openxmlformats.org/officeDocument/2006/customXml" ds:itemID="{7BE5F28F-50CA-40F1-A02E-E794FE33362D}">
  <ds:schemaRefs>
    <ds:schemaRef ds:uri="Strauss.PersonalizationDefinition"/>
  </ds:schemaRefs>
</ds:datastoreItem>
</file>

<file path=customXml/itemProps20.xml><?xml version="1.0" encoding="utf-8"?>
<ds:datastoreItem xmlns:ds="http://schemas.openxmlformats.org/officeDocument/2006/customXml" ds:itemID="{734F6CED-B619-41E0-BEDE-58B64D5F5EB2}">
  <ds:schemaRefs>
    <ds:schemaRef ds:uri="Strauss.PersonalizationDefinition"/>
  </ds:schemaRefs>
</ds:datastoreItem>
</file>

<file path=customXml/itemProps21.xml><?xml version="1.0" encoding="utf-8"?>
<ds:datastoreItem xmlns:ds="http://schemas.openxmlformats.org/officeDocument/2006/customXml" ds:itemID="{628127A0-F2C3-45C3-BB9F-5B29A6B848BE}">
  <ds:schemaRefs>
    <ds:schemaRef ds:uri="Strauss.PersonalizationDefinition"/>
  </ds:schemaRefs>
</ds:datastoreItem>
</file>

<file path=customXml/itemProps22.xml><?xml version="1.0" encoding="utf-8"?>
<ds:datastoreItem xmlns:ds="http://schemas.openxmlformats.org/officeDocument/2006/customXml" ds:itemID="{FC25CD5D-A9DA-407F-9106-47BDA14BCED9}">
  <ds:schemaRefs>
    <ds:schemaRef ds:uri="Strauss.PersonalizationDefinition"/>
  </ds:schemaRefs>
</ds:datastoreItem>
</file>

<file path=customXml/itemProps23.xml><?xml version="1.0" encoding="utf-8"?>
<ds:datastoreItem xmlns:ds="http://schemas.openxmlformats.org/officeDocument/2006/customXml" ds:itemID="{EF4AA5EB-A638-4D3A-B852-E71E18ED4953}">
  <ds:schemaRefs>
    <ds:schemaRef ds:uri="Strauss.PersonalizationDefinition"/>
  </ds:schemaRefs>
</ds:datastoreItem>
</file>

<file path=customXml/itemProps24.xml><?xml version="1.0" encoding="utf-8"?>
<ds:datastoreItem xmlns:ds="http://schemas.openxmlformats.org/officeDocument/2006/customXml" ds:itemID="{103AB8E4-C30A-4895-9606-8D77F2E70F19}">
  <ds:schemaRefs>
    <ds:schemaRef ds:uri="Strauss.PersonalizationDefinition"/>
  </ds:schemaRefs>
</ds:datastoreItem>
</file>

<file path=customXml/itemProps25.xml><?xml version="1.0" encoding="utf-8"?>
<ds:datastoreItem xmlns:ds="http://schemas.openxmlformats.org/officeDocument/2006/customXml" ds:itemID="{ECCE7DC3-F525-4E76-8812-56FCA2D21E50}">
  <ds:schemaRefs>
    <ds:schemaRef ds:uri="Strauss.PersonalizationDefinition"/>
  </ds:schemaRefs>
</ds:datastoreItem>
</file>

<file path=customXml/itemProps26.xml><?xml version="1.0" encoding="utf-8"?>
<ds:datastoreItem xmlns:ds="http://schemas.openxmlformats.org/officeDocument/2006/customXml" ds:itemID="{712108F3-86F2-4B95-AF2D-FE4E45965FCC}">
  <ds:schemaRefs>
    <ds:schemaRef ds:uri="Strauss.PersonalizationDefinition"/>
  </ds:schemaRefs>
</ds:datastoreItem>
</file>

<file path=customXml/itemProps27.xml><?xml version="1.0" encoding="utf-8"?>
<ds:datastoreItem xmlns:ds="http://schemas.openxmlformats.org/officeDocument/2006/customXml" ds:itemID="{13A5538B-5199-4900-941A-B01E377F2065}">
  <ds:schemaRefs>
    <ds:schemaRef ds:uri="Strauss.PersonalizationDefinition"/>
  </ds:schemaRefs>
</ds:datastoreItem>
</file>

<file path=customXml/itemProps28.xml><?xml version="1.0" encoding="utf-8"?>
<ds:datastoreItem xmlns:ds="http://schemas.openxmlformats.org/officeDocument/2006/customXml" ds:itemID="{A09B3D8F-A36C-4B6D-871D-C53F61DFD219}">
  <ds:schemaRefs>
    <ds:schemaRef ds:uri="Strauss.PersonalizationDefinition"/>
  </ds:schemaRefs>
</ds:datastoreItem>
</file>

<file path=customXml/itemProps29.xml><?xml version="1.0" encoding="utf-8"?>
<ds:datastoreItem xmlns:ds="http://schemas.openxmlformats.org/officeDocument/2006/customXml" ds:itemID="{4A3F169F-E27D-4A25-888C-4C5D83BAC082}">
  <ds:schemaRefs>
    <ds:schemaRef ds:uri="Strauss.PersonalizationDefinition"/>
  </ds:schemaRefs>
</ds:datastoreItem>
</file>

<file path=customXml/itemProps3.xml><?xml version="1.0" encoding="utf-8"?>
<ds:datastoreItem xmlns:ds="http://schemas.openxmlformats.org/officeDocument/2006/customXml" ds:itemID="{D55AC15F-0A03-4D96-AA43-65FC3DCE2717}">
  <ds:schemaRefs>
    <ds:schemaRef ds:uri="Strauss.PersonalizationDefinition"/>
  </ds:schemaRefs>
</ds:datastoreItem>
</file>

<file path=customXml/itemProps30.xml><?xml version="1.0" encoding="utf-8"?>
<ds:datastoreItem xmlns:ds="http://schemas.openxmlformats.org/officeDocument/2006/customXml" ds:itemID="{82C716E8-B770-4139-99B0-F35B9C64B90F}">
  <ds:schemaRefs>
    <ds:schemaRef ds:uri="Strauss.PersonalizationDefinition"/>
  </ds:schemaRefs>
</ds:datastoreItem>
</file>

<file path=customXml/itemProps31.xml><?xml version="1.0" encoding="utf-8"?>
<ds:datastoreItem xmlns:ds="http://schemas.openxmlformats.org/officeDocument/2006/customXml" ds:itemID="{DE0DC7DC-A960-4E6E-BF1B-D3D906B081A2}">
  <ds:schemaRefs>
    <ds:schemaRef ds:uri="Strauss.PersonalizationDefinition"/>
  </ds:schemaRefs>
</ds:datastoreItem>
</file>

<file path=customXml/itemProps32.xml><?xml version="1.0" encoding="utf-8"?>
<ds:datastoreItem xmlns:ds="http://schemas.openxmlformats.org/officeDocument/2006/customXml" ds:itemID="{08068EAD-DA6C-4DC8-843E-9CB0982D15F3}">
  <ds:schemaRefs>
    <ds:schemaRef ds:uri="Strauss.PersonalizationDefinition"/>
  </ds:schemaRefs>
</ds:datastoreItem>
</file>

<file path=customXml/itemProps33.xml><?xml version="1.0" encoding="utf-8"?>
<ds:datastoreItem xmlns:ds="http://schemas.openxmlformats.org/officeDocument/2006/customXml" ds:itemID="{C1060A51-5976-4775-97EE-ABE1B1E4972A}">
  <ds:schemaRefs>
    <ds:schemaRef ds:uri="Strauss.PersonalizationDefinition"/>
  </ds:schemaRefs>
</ds:datastoreItem>
</file>

<file path=customXml/itemProps34.xml><?xml version="1.0" encoding="utf-8"?>
<ds:datastoreItem xmlns:ds="http://schemas.openxmlformats.org/officeDocument/2006/customXml" ds:itemID="{B228D3F7-8445-4CE7-92DC-AC7FE2D5A2AF}">
  <ds:schemaRefs>
    <ds:schemaRef ds:uri="Strauss.PersonalizationDefinition"/>
  </ds:schemaRefs>
</ds:datastoreItem>
</file>

<file path=customXml/itemProps35.xml><?xml version="1.0" encoding="utf-8"?>
<ds:datastoreItem xmlns:ds="http://schemas.openxmlformats.org/officeDocument/2006/customXml" ds:itemID="{541D4602-AC17-4CBD-B95E-D5B3D757BC54}">
  <ds:schemaRefs>
    <ds:schemaRef ds:uri="Strauss.PersonalizationDefinition"/>
  </ds:schemaRefs>
</ds:datastoreItem>
</file>

<file path=customXml/itemProps36.xml><?xml version="1.0" encoding="utf-8"?>
<ds:datastoreItem xmlns:ds="http://schemas.openxmlformats.org/officeDocument/2006/customXml" ds:itemID="{DF333A1B-0A9C-4DA8-ADAB-4378B69FDC48}">
  <ds:schemaRefs>
    <ds:schemaRef ds:uri="Strauss.PersonalizationDefinition"/>
  </ds:schemaRefs>
</ds:datastoreItem>
</file>

<file path=customXml/itemProps37.xml><?xml version="1.0" encoding="utf-8"?>
<ds:datastoreItem xmlns:ds="http://schemas.openxmlformats.org/officeDocument/2006/customXml" ds:itemID="{4C485A9E-99A8-4277-BE90-E837A967DB2E}">
  <ds:schemaRefs>
    <ds:schemaRef ds:uri="Strauss.PersonalizationDefinition"/>
  </ds:schemaRefs>
</ds:datastoreItem>
</file>

<file path=customXml/itemProps38.xml><?xml version="1.0" encoding="utf-8"?>
<ds:datastoreItem xmlns:ds="http://schemas.openxmlformats.org/officeDocument/2006/customXml" ds:itemID="{4EA01338-72BB-48B6-B6A4-05B31FE21105}">
  <ds:schemaRefs>
    <ds:schemaRef ds:uri="Strauss.PersonalizationDefinition"/>
  </ds:schemaRefs>
</ds:datastoreItem>
</file>

<file path=customXml/itemProps39.xml><?xml version="1.0" encoding="utf-8"?>
<ds:datastoreItem xmlns:ds="http://schemas.openxmlformats.org/officeDocument/2006/customXml" ds:itemID="{B09E3EAE-66CA-4A91-A5FE-A34A70B099ED}">
  <ds:schemaRefs>
    <ds:schemaRef ds:uri="Strauss.PersonalizationDefinition"/>
  </ds:schemaRefs>
</ds:datastoreItem>
</file>

<file path=customXml/itemProps4.xml><?xml version="1.0" encoding="utf-8"?>
<ds:datastoreItem xmlns:ds="http://schemas.openxmlformats.org/officeDocument/2006/customXml" ds:itemID="{2BCFCE7B-4A43-491B-887D-365E2A1C50B2}">
  <ds:schemaRefs>
    <ds:schemaRef ds:uri="Strauss.PersonalizationDefinition"/>
  </ds:schemaRefs>
</ds:datastoreItem>
</file>

<file path=customXml/itemProps40.xml><?xml version="1.0" encoding="utf-8"?>
<ds:datastoreItem xmlns:ds="http://schemas.openxmlformats.org/officeDocument/2006/customXml" ds:itemID="{EDFBA6C8-3A38-44F0-B645-B6B0034983DA}">
  <ds:schemaRefs>
    <ds:schemaRef ds:uri="Strauss.PersonalizationDefinition"/>
  </ds:schemaRefs>
</ds:datastoreItem>
</file>

<file path=customXml/itemProps41.xml><?xml version="1.0" encoding="utf-8"?>
<ds:datastoreItem xmlns:ds="http://schemas.openxmlformats.org/officeDocument/2006/customXml" ds:itemID="{FBC13881-F2DC-4AA3-88C8-97C40CA1EBC7}">
  <ds:schemaRefs>
    <ds:schemaRef ds:uri="Strauss.PersonalizationDefinition"/>
  </ds:schemaRefs>
</ds:datastoreItem>
</file>

<file path=customXml/itemProps42.xml><?xml version="1.0" encoding="utf-8"?>
<ds:datastoreItem xmlns:ds="http://schemas.openxmlformats.org/officeDocument/2006/customXml" ds:itemID="{34F0915E-ABE9-4273-9D46-42B2CE22FFC2}">
  <ds:schemaRefs>
    <ds:schemaRef ds:uri="Strauss.PersonalizationDefinition"/>
  </ds:schemaRefs>
</ds:datastoreItem>
</file>

<file path=customXml/itemProps43.xml><?xml version="1.0" encoding="utf-8"?>
<ds:datastoreItem xmlns:ds="http://schemas.openxmlformats.org/officeDocument/2006/customXml" ds:itemID="{3C594E74-21D0-4A46-AD7D-E1B772BAC3B8}">
  <ds:schemaRefs>
    <ds:schemaRef ds:uri="Strauss.PersonalizationDefinition"/>
  </ds:schemaRefs>
</ds:datastoreItem>
</file>

<file path=customXml/itemProps44.xml><?xml version="1.0" encoding="utf-8"?>
<ds:datastoreItem xmlns:ds="http://schemas.openxmlformats.org/officeDocument/2006/customXml" ds:itemID="{7C42A160-080E-4178-8FDB-B5422D4D778A}">
  <ds:schemaRefs>
    <ds:schemaRef ds:uri="Strauss.PersonalizationDefinition"/>
  </ds:schemaRefs>
</ds:datastoreItem>
</file>

<file path=customXml/itemProps45.xml><?xml version="1.0" encoding="utf-8"?>
<ds:datastoreItem xmlns:ds="http://schemas.openxmlformats.org/officeDocument/2006/customXml" ds:itemID="{9CFE9A22-C3CB-45B7-B365-FE59FD6BB66B}">
  <ds:schemaRefs>
    <ds:schemaRef ds:uri="Strauss.PersonalizationDefinition"/>
  </ds:schemaRefs>
</ds:datastoreItem>
</file>

<file path=customXml/itemProps5.xml><?xml version="1.0" encoding="utf-8"?>
<ds:datastoreItem xmlns:ds="http://schemas.openxmlformats.org/officeDocument/2006/customXml" ds:itemID="{CD086AF5-CCD3-41C8-B98A-2B159789D38E}">
  <ds:schemaRefs>
    <ds:schemaRef ds:uri="Strauss.PersonalizationDefinition"/>
  </ds:schemaRefs>
</ds:datastoreItem>
</file>

<file path=customXml/itemProps6.xml><?xml version="1.0" encoding="utf-8"?>
<ds:datastoreItem xmlns:ds="http://schemas.openxmlformats.org/officeDocument/2006/customXml" ds:itemID="{5C919DC8-E31E-42F0-9621-B916C2E029BA}">
  <ds:schemaRefs>
    <ds:schemaRef ds:uri="Strauss.PersonalizationDefinition"/>
  </ds:schemaRefs>
</ds:datastoreItem>
</file>

<file path=customXml/itemProps7.xml><?xml version="1.0" encoding="utf-8"?>
<ds:datastoreItem xmlns:ds="http://schemas.openxmlformats.org/officeDocument/2006/customXml" ds:itemID="{BC268A45-186B-46A3-937F-0E016CEA70C1}">
  <ds:schemaRefs>
    <ds:schemaRef ds:uri="Strauss.PersonalizationDefinition"/>
  </ds:schemaRefs>
</ds:datastoreItem>
</file>

<file path=customXml/itemProps8.xml><?xml version="1.0" encoding="utf-8"?>
<ds:datastoreItem xmlns:ds="http://schemas.openxmlformats.org/officeDocument/2006/customXml" ds:itemID="{68BE9F8F-073F-46B7-B2D0-86DC8E2E9DCE}">
  <ds:schemaRefs>
    <ds:schemaRef ds:uri="Strauss.PersonalizationDefinition"/>
  </ds:schemaRefs>
</ds:datastoreItem>
</file>

<file path=customXml/itemProps9.xml><?xml version="1.0" encoding="utf-8"?>
<ds:datastoreItem xmlns:ds="http://schemas.openxmlformats.org/officeDocument/2006/customXml" ds:itemID="{AC7687D8-5695-4F99-A8BA-1D247B418C22}">
  <ds:schemaRefs>
    <ds:schemaRef ds:uri="0b15a96f-9efd-4f0c-b199-c53b2a01cb9d"/>
    <ds:schemaRef ds:uri="230e9df3-be65-4c73-a93b-d1236ebd677e"/>
    <ds:schemaRef ds:uri="a239a976-d8ff-4180-838f-1921746079e6"/>
    <ds:schemaRef ds:uri="b66b6bb9-0c3b-4baf-b7e0-24038b18f231"/>
    <ds:schemaRef ds:uri="http://schemas.microsoft.com/office/2006/metadata/properties"/>
    <ds:schemaRef ds:uri="http://schemas.microsoft.com/office/infopath/2007/PartnerControls"/>
    <ds:schemaRef ds:uri="http://schemas.microsoft.com/sharepoint/v3"/>
    <ds:schemaRef ds:uri="6cd3d847-4521-4863-8800-2cff076dfc18"/>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62</TotalTime>
  <Words>8921</Words>
  <Application>Microsoft Office PowerPoint</Application>
  <PresentationFormat>Widescreen</PresentationFormat>
  <Paragraphs>837</Paragraphs>
  <Slides>69</Slides>
  <Notes>64</Notes>
  <HiddenSlides>0</HiddenSlides>
  <MMClips>0</MMClips>
  <ScaleCrop>false</ScaleCrop>
  <HeadingPairs>
    <vt:vector size="6" baseType="variant">
      <vt:variant>
        <vt:lpstr>Fonts Used</vt:lpstr>
      </vt:variant>
      <vt:variant>
        <vt:i4>13</vt:i4>
      </vt:variant>
      <vt:variant>
        <vt:lpstr>Theme</vt:lpstr>
      </vt:variant>
      <vt:variant>
        <vt:i4>5</vt:i4>
      </vt:variant>
      <vt:variant>
        <vt:lpstr>Slide Titles</vt:lpstr>
      </vt:variant>
      <vt:variant>
        <vt:i4>69</vt:i4>
      </vt:variant>
    </vt:vector>
  </HeadingPairs>
  <TitlesOfParts>
    <vt:vector size="87" baseType="lpstr">
      <vt:lpstr>&amp;quot</vt:lpstr>
      <vt:lpstr>Arial</vt:lpstr>
      <vt:lpstr>Calibri</vt:lpstr>
      <vt:lpstr>Calibri Light</vt:lpstr>
      <vt:lpstr>Century Gothic</vt:lpstr>
      <vt:lpstr>Comic Sans MS</vt:lpstr>
      <vt:lpstr>Consolas</vt:lpstr>
      <vt:lpstr>Lucida Console</vt:lpstr>
      <vt:lpstr>Segoe UI</vt:lpstr>
      <vt:lpstr>Segoe UI Light</vt:lpstr>
      <vt:lpstr>Segoe UI Semibold</vt:lpstr>
      <vt:lpstr>Segoe UI Semilight</vt:lpstr>
      <vt:lpstr>Wingdings</vt:lpstr>
      <vt:lpstr>Dark Blue</vt:lpstr>
      <vt:lpstr>Microsoft 365 PPT Template - 2018</vt:lpstr>
      <vt:lpstr>1_Microsoft 365 PPT Template - 2018</vt:lpstr>
      <vt:lpstr>5-50203_Microsoft_Ignite_Template</vt:lpstr>
      <vt:lpstr>PASS 2013_SpeakerTemplate_Final</vt:lpstr>
      <vt:lpstr>Azure SQL Performance Tuning</vt:lpstr>
      <vt:lpstr>Learning Units covered in this Module</vt:lpstr>
      <vt:lpstr>Lesson 1: Query Performance Insights</vt:lpstr>
      <vt:lpstr>Objectives</vt:lpstr>
      <vt:lpstr>Objectives</vt:lpstr>
      <vt:lpstr>Query Performance Insight </vt:lpstr>
      <vt:lpstr>Viewing individual query details</vt:lpstr>
      <vt:lpstr>Review top queries per duration</vt:lpstr>
      <vt:lpstr>Review top queries per execution count</vt:lpstr>
      <vt:lpstr>Demonstration</vt:lpstr>
      <vt:lpstr>Questions?</vt:lpstr>
      <vt:lpstr>Lesson 2: Azure SQL Automatic Tuning</vt:lpstr>
      <vt:lpstr>Objectives</vt:lpstr>
      <vt:lpstr>Automatic Tuning</vt:lpstr>
      <vt:lpstr>Intelligent Performance – Automatic Tuning </vt:lpstr>
      <vt:lpstr>Automatic Tuning – Create Index</vt:lpstr>
      <vt:lpstr>Automatic Tuning – Drop Index</vt:lpstr>
      <vt:lpstr>Automatic Tuning – Parameterize Queries</vt:lpstr>
      <vt:lpstr>Questions?</vt:lpstr>
      <vt:lpstr>Lesson 3: Intelligent Query Processing</vt:lpstr>
      <vt:lpstr>What is in the lesson?</vt:lpstr>
      <vt:lpstr>In a World… before IQP</vt:lpstr>
      <vt:lpstr>Adaptive Query Processing (2017)</vt:lpstr>
      <vt:lpstr>Intelligent Query Processing (2019)</vt:lpstr>
      <vt:lpstr>Intelligent Query Processing (2022)</vt:lpstr>
      <vt:lpstr>Enabling and Disabling – Instance Level</vt:lpstr>
      <vt:lpstr>Enabling and Disabling – Database Level</vt:lpstr>
      <vt:lpstr>Enabling and Disabling – Statement Level</vt:lpstr>
      <vt:lpstr>Intelligent Query Processing</vt:lpstr>
      <vt:lpstr>Adaptive Query Processing (2017)</vt:lpstr>
      <vt:lpstr>Batch Mode Adaptive Joins (2017)</vt:lpstr>
      <vt:lpstr>Batch Mode Adaptive Joins (2017)</vt:lpstr>
      <vt:lpstr>Interleaved Execution (2017)</vt:lpstr>
      <vt:lpstr>Interleaved Execution (2017)</vt:lpstr>
      <vt:lpstr>Batch Mode Memory Grant Feedback (2017)</vt:lpstr>
      <vt:lpstr>Batch Mode Memory Grant Feedback (2017)</vt:lpstr>
      <vt:lpstr>Row Mode Memory Grant Feedback (2019)</vt:lpstr>
      <vt:lpstr>Row Mode Memory Grant Feedback (2019)</vt:lpstr>
      <vt:lpstr>Feedback Persistence (2022)</vt:lpstr>
      <vt:lpstr>Feedback Persistence and Percentile (2022)</vt:lpstr>
      <vt:lpstr>Feedback Persistence and Percentile (2022)</vt:lpstr>
      <vt:lpstr>PowerPoint Presentation</vt:lpstr>
      <vt:lpstr>Cardinality Estimator Feedback (2022)</vt:lpstr>
      <vt:lpstr>Cardinality Estimator Feedback (2022)</vt:lpstr>
      <vt:lpstr>Degree of Parallelism Feedback (2022)</vt:lpstr>
      <vt:lpstr>Degree of Parallelism Feedback (2022)</vt:lpstr>
      <vt:lpstr>Intelligent Query Processing Feature Family</vt:lpstr>
      <vt:lpstr>Intelligent Query Processing (2019)</vt:lpstr>
      <vt:lpstr>Table Variable Deferred Compilation</vt:lpstr>
      <vt:lpstr>Batch Mode on Rowstore Indexes</vt:lpstr>
      <vt:lpstr>Scalar User-Defined Function Inlining</vt:lpstr>
      <vt:lpstr>Approximate Query Processing</vt:lpstr>
      <vt:lpstr>Approximate Count Distinct (2019)</vt:lpstr>
      <vt:lpstr>Approximate Count Distinct</vt:lpstr>
      <vt:lpstr>Approximate Percentile (2022)</vt:lpstr>
      <vt:lpstr>Optimized Plan Forcing (2022)</vt:lpstr>
      <vt:lpstr>Optimized Plan Forcing (2022)</vt:lpstr>
      <vt:lpstr>Optimized Plan Forcing (2022)</vt:lpstr>
      <vt:lpstr>Parameter Sensitive Plan Optimization (2022)</vt:lpstr>
      <vt:lpstr>Parameter Sensitive Plans (2022)</vt:lpstr>
      <vt:lpstr>PSP today (Example of Real Estate agent's portfolio)</vt:lpstr>
      <vt:lpstr>PSP today (Example of Real Estate agent's portfolio)</vt:lpstr>
      <vt:lpstr>PSP Optimization (2022)</vt:lpstr>
      <vt:lpstr>PSP Predicate Selection (2022)</vt:lpstr>
      <vt:lpstr>Boundary Value Selection (Dispatcher Plan)</vt:lpstr>
      <vt:lpstr>Intelligent Query Processing Feature Family</vt:lpstr>
      <vt:lpstr>PowerPoint Presentation</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John Deardurff</cp:lastModifiedBy>
  <cp:revision>2</cp:revision>
  <dcterms:created xsi:type="dcterms:W3CDTF">2019-02-08T20:09:46Z</dcterms:created>
  <dcterms:modified xsi:type="dcterms:W3CDTF">2022-08-11T16: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A158CAB76EB234EA787464046C58889</vt:lpwstr>
  </property>
  <property fmtid="{D5CDD505-2E9C-101B-9397-08002B2CF9AE}" pid="12" name="_dlc_DocIdItemGuid">
    <vt:lpwstr>faeaa986-2e78-4567-bd40-f1286550cf24</vt:lpwstr>
  </property>
  <property fmtid="{D5CDD505-2E9C-101B-9397-08002B2CF9AE}" pid="13" name="MediaServiceImageTags">
    <vt:lpwstr/>
  </property>
</Properties>
</file>